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1"/>
  </p:sldMasterIdLst>
  <p:notesMasterIdLst>
    <p:notesMasterId r:id="rId3"/>
  </p:notesMasterIdLst>
  <p:sldIdLst>
    <p:sldId id="282" r:id="rId2"/>
  </p:sldIdLst>
  <p:sldSz cx="6858000" cy="9906000" type="A4"/>
  <p:notesSz cx="6807200" cy="9939338"/>
  <p:custDataLst>
    <p:tags r:id="rId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2160" userDrawn="1">
          <p15:clr>
            <a:srgbClr val="A4A3A4"/>
          </p15:clr>
        </p15:guide>
        <p15:guide id="3" orient="horz" pos="309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AC1D"/>
    <a:srgbClr val="1C94D3"/>
    <a:srgbClr val="7DC1E4"/>
    <a:srgbClr val="25D85C"/>
    <a:srgbClr val="019FDE"/>
    <a:srgbClr val="7FC4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05" autoAdjust="0"/>
    <p:restoredTop sz="94660"/>
  </p:normalViewPr>
  <p:slideViewPr>
    <p:cSldViewPr snapToGrid="0" showGuides="1">
      <p:cViewPr varScale="1">
        <p:scale>
          <a:sx n="49" d="100"/>
          <a:sy n="49" d="100"/>
        </p:scale>
        <p:origin x="2268" y="42"/>
      </p:cViewPr>
      <p:guideLst>
        <p:guide pos="2160"/>
        <p:guide orient="horz" pos="3097"/>
      </p:guideLst>
    </p:cSldViewPr>
  </p:slideViewPr>
  <p:notesTextViewPr>
    <p:cViewPr>
      <p:scale>
        <a:sx n="1" d="1"/>
        <a:sy n="1" d="1"/>
      </p:scale>
      <p:origin x="0" y="0"/>
    </p:cViewPr>
  </p:notesTextViewPr>
  <p:sorterViewPr>
    <p:cViewPr>
      <p:scale>
        <a:sx n="100" d="100"/>
        <a:sy n="100" d="100"/>
      </p:scale>
      <p:origin x="0" y="-4764"/>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commentAuthors" Target="commentAuthors.xml"/><Relationship Id="rId4" Type="http://schemas.openxmlformats.org/officeDocument/2006/relationships/tags" Target="tags/tag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50375" cy="498966"/>
          </a:xfrm>
          <a:prstGeom prst="rect">
            <a:avLst/>
          </a:prstGeom>
        </p:spPr>
        <p:txBody>
          <a:bodyPr vert="horz" lIns="92226" tIns="46113" rIns="92226" bIns="4611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26" tIns="46113" rIns="92226" bIns="46113" rtlCol="0"/>
          <a:lstStyle>
            <a:lvl1pPr algn="r">
              <a:defRPr sz="1200"/>
            </a:lvl1pPr>
          </a:lstStyle>
          <a:p>
            <a:fld id="{AAE2C4BB-DD5D-4EF0-8811-528209874544}" type="datetimeFigureOut">
              <a:rPr kumimoji="1" lang="ja-JP" altLang="en-US" smtClean="0"/>
              <a:t>2019/6/20</a:t>
            </a:fld>
            <a:endParaRPr kumimoji="1" lang="ja-JP" altLang="en-US"/>
          </a:p>
        </p:txBody>
      </p:sp>
      <p:sp>
        <p:nvSpPr>
          <p:cNvPr id="4" name="スライド イメージ プレースホルダー 3"/>
          <p:cNvSpPr>
            <a:spLocks noGrp="1" noRot="1" noChangeAspect="1"/>
          </p:cNvSpPr>
          <p:nvPr>
            <p:ph type="sldImg" idx="2"/>
          </p:nvPr>
        </p:nvSpPr>
        <p:spPr>
          <a:xfrm>
            <a:off x="2243138" y="1243013"/>
            <a:ext cx="2320925" cy="3352800"/>
          </a:xfrm>
          <a:prstGeom prst="rect">
            <a:avLst/>
          </a:prstGeom>
          <a:noFill/>
          <a:ln w="12700">
            <a:solidFill>
              <a:prstClr val="black"/>
            </a:solidFill>
          </a:ln>
        </p:spPr>
        <p:txBody>
          <a:bodyPr vert="horz" lIns="92226" tIns="46113" rIns="92226" bIns="46113" rtlCol="0" anchor="ctr"/>
          <a:lstStyle/>
          <a:p>
            <a:endParaRPr lang="ja-JP" altLang="en-US" dirty="0"/>
          </a:p>
        </p:txBody>
      </p:sp>
      <p:sp>
        <p:nvSpPr>
          <p:cNvPr id="5" name="ノート プレースホルダー 4"/>
          <p:cNvSpPr>
            <a:spLocks noGrp="1"/>
          </p:cNvSpPr>
          <p:nvPr>
            <p:ph type="body" sz="quarter" idx="3"/>
          </p:nvPr>
        </p:nvSpPr>
        <p:spPr>
          <a:xfrm>
            <a:off x="680240" y="4783358"/>
            <a:ext cx="5446723" cy="3913364"/>
          </a:xfrm>
          <a:prstGeom prst="rect">
            <a:avLst/>
          </a:prstGeom>
        </p:spPr>
        <p:txBody>
          <a:bodyPr vert="horz" lIns="92226" tIns="46113" rIns="92226" bIns="46113" rtlCol="0"/>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
        <p:nvSpPr>
          <p:cNvPr id="6" name="フッター プレースホルダー 5"/>
          <p:cNvSpPr>
            <a:spLocks noGrp="1"/>
          </p:cNvSpPr>
          <p:nvPr>
            <p:ph type="ftr" sz="quarter" idx="4"/>
          </p:nvPr>
        </p:nvSpPr>
        <p:spPr>
          <a:xfrm>
            <a:off x="2" y="9440373"/>
            <a:ext cx="2950375" cy="498966"/>
          </a:xfrm>
          <a:prstGeom prst="rect">
            <a:avLst/>
          </a:prstGeom>
        </p:spPr>
        <p:txBody>
          <a:bodyPr vert="horz" lIns="92226" tIns="46113" rIns="92226" bIns="4611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3"/>
            <a:ext cx="2950374" cy="498966"/>
          </a:xfrm>
          <a:prstGeom prst="rect">
            <a:avLst/>
          </a:prstGeom>
        </p:spPr>
        <p:txBody>
          <a:bodyPr vert="horz" lIns="92226" tIns="46113" rIns="92226" bIns="46113"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706821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1" name="think-cell Slide" r:id="rId4" imgW="563" imgH="564" progId="TCLayout.ActiveDocument.1">
                  <p:embed/>
                </p:oleObj>
              </mc:Choice>
              <mc:Fallback>
                <p:oleObj name="think-cell Slide" r:id="rId4" imgW="563" imgH="56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838266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2049642230"/>
              </p:ext>
            </p:extLst>
          </p:nvPr>
        </p:nvGraphicFramePr>
        <p:xfrm>
          <a:off x="1100" y="2295"/>
          <a:ext cx="1099" cy="2292"/>
        </p:xfrm>
        <a:graphic>
          <a:graphicData uri="http://schemas.openxmlformats.org/presentationml/2006/ole">
            <mc:AlternateContent xmlns:mc="http://schemas.openxmlformats.org/markup-compatibility/2006">
              <mc:Choice xmlns:v="urn:schemas-microsoft-com:vml" Requires="v">
                <p:oleObj spid="_x0000_s2192" name="think-cell Slide" r:id="rId5" imgW="444" imgH="443" progId="TCLayout.ActiveDocument.1">
                  <p:embed/>
                </p:oleObj>
              </mc:Choice>
              <mc:Fallback>
                <p:oleObj name="think-cell Slide" r:id="rId5" imgW="444" imgH="443" progId="TCLayout.ActiveDocument.1">
                  <p:embed/>
                  <p:pic>
                    <p:nvPicPr>
                      <p:cNvPr id="0" name=""/>
                      <p:cNvPicPr/>
                      <p:nvPr/>
                    </p:nvPicPr>
                    <p:blipFill>
                      <a:blip r:embed="rId6"/>
                      <a:stretch>
                        <a:fillRect/>
                      </a:stretch>
                    </p:blipFill>
                    <p:spPr>
                      <a:xfrm>
                        <a:off x="1100" y="2295"/>
                        <a:ext cx="1099" cy="2292"/>
                      </a:xfrm>
                      <a:prstGeom prst="rect">
                        <a:avLst/>
                      </a:prstGeom>
                    </p:spPr>
                  </p:pic>
                </p:oleObj>
              </mc:Fallback>
            </mc:AlternateContent>
          </a:graphicData>
        </a:graphic>
      </p:graphicFrame>
      <p:sp>
        <p:nvSpPr>
          <p:cNvPr id="2" name="Title Placeholder 1"/>
          <p:cNvSpPr>
            <a:spLocks noGrp="1"/>
          </p:cNvSpPr>
          <p:nvPr>
            <p:ph type="title"/>
          </p:nvPr>
        </p:nvSpPr>
        <p:spPr bwMode="gray">
          <a:xfrm>
            <a:off x="288693" y="197600"/>
            <a:ext cx="6280615" cy="9412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3" name="テキスト プレースホルダー 2"/>
          <p:cNvSpPr>
            <a:spLocks noGrp="1"/>
          </p:cNvSpPr>
          <p:nvPr>
            <p:ph type="body" idx="1"/>
          </p:nvPr>
        </p:nvSpPr>
        <p:spPr bwMode="gray">
          <a:xfrm>
            <a:off x="288692" y="2132000"/>
            <a:ext cx="3015692" cy="6968000"/>
          </a:xfrm>
          <a:prstGeom prst="rect">
            <a:avLst/>
          </a:prstGeom>
        </p:spPr>
        <p:txBody>
          <a:bodyPr vert="horz" lIns="7200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9" r:id="rId1"/>
  </p:sldLayoutIdLst>
  <mc:AlternateContent xmlns:mc="http://schemas.openxmlformats.org/markup-compatibility/2006" xmlns:p14="http://schemas.microsoft.com/office/powerpoint/2010/main">
    <mc:Choice Requires="p14">
      <p:transition p14:dur="0"/>
    </mc:Choice>
    <mc:Fallback xmlns="">
      <p:transition/>
    </mc:Fallback>
  </mc:AlternateContent>
  <p:hf hdr="0" dt="0"/>
  <p:txStyles>
    <p:titleStyle>
      <a:lvl1pPr algn="l" defTabSz="685767" rtl="0" eaLnBrk="1" latinLnBrk="0" hangingPunct="1">
        <a:spcBef>
          <a:spcPct val="0"/>
        </a:spcBef>
        <a:buNone/>
        <a:defRPr kumimoji="1" sz="1385" b="1" kern="1200" baseline="0">
          <a:solidFill>
            <a:schemeClr val="tx1"/>
          </a:solidFill>
          <a:latin typeface="+mj-lt"/>
          <a:ea typeface="+mj-ea"/>
          <a:cs typeface="+mj-cs"/>
        </a:defRPr>
      </a:lvl1pPr>
    </p:titleStyle>
    <p:bodyStyle>
      <a:lvl1pPr marL="0" marR="0" indent="0" algn="l" defTabSz="685767" rtl="0" eaLnBrk="1" fontAlgn="auto" latinLnBrk="0" hangingPunct="1">
        <a:lnSpc>
          <a:spcPct val="106000"/>
        </a:lnSpc>
        <a:spcBef>
          <a:spcPts val="731"/>
        </a:spcBef>
        <a:spcAft>
          <a:spcPts val="0"/>
        </a:spcAft>
        <a:buClrTx/>
        <a:buSzPct val="100000"/>
        <a:buFont typeface="Arial" panose="020B0604020202020204" pitchFamily="34" charset="0"/>
        <a:buNone/>
        <a:tabLst/>
        <a:defRPr kumimoji="1" sz="831" b="0" kern="1200">
          <a:solidFill>
            <a:schemeClr val="tx1"/>
          </a:solidFill>
          <a:latin typeface="+mn-lt"/>
          <a:ea typeface="+mn-ea"/>
          <a:cs typeface="+mn-cs"/>
        </a:defRPr>
      </a:lvl1pPr>
      <a:lvl2pPr marL="119629" marR="0" indent="-119629" algn="l" defTabSz="685767" rtl="0" eaLnBrk="1" fontAlgn="auto" latinLnBrk="0" hangingPunct="1">
        <a:lnSpc>
          <a:spcPct val="106000"/>
        </a:lnSpc>
        <a:spcBef>
          <a:spcPts val="731"/>
        </a:spcBef>
        <a:spcAft>
          <a:spcPts val="0"/>
        </a:spcAft>
        <a:buClrTx/>
        <a:buSzPct val="100000"/>
        <a:buFont typeface="Wingdings" panose="05000000000000000000" pitchFamily="2" charset="2"/>
        <a:buChar char="n"/>
        <a:tabLst/>
        <a:defRPr kumimoji="1" lang="en-US" sz="831" b="0" kern="1200" dirty="0" smtClean="0">
          <a:solidFill>
            <a:schemeClr val="tx1"/>
          </a:solidFill>
          <a:latin typeface="+mn-lt"/>
          <a:ea typeface="+mn-ea"/>
          <a:cs typeface="+mn-cs"/>
        </a:defRPr>
      </a:lvl2pPr>
      <a:lvl3pPr marL="239259" marR="0" indent="-119629" algn="l" defTabSz="685767" rtl="0" eaLnBrk="1" fontAlgn="auto" latinLnBrk="0" hangingPunct="1">
        <a:lnSpc>
          <a:spcPct val="106000"/>
        </a:lnSpc>
        <a:spcBef>
          <a:spcPts val="332"/>
        </a:spcBef>
        <a:spcAft>
          <a:spcPts val="0"/>
        </a:spcAft>
        <a:buClrTx/>
        <a:buSzPct val="100000"/>
        <a:buFont typeface="Wingdings" panose="05000000000000000000" pitchFamily="2" charset="2"/>
        <a:buChar char="Ø"/>
        <a:tabLst/>
        <a:defRPr kumimoji="1" lang="en-US" sz="831" b="0" kern="1200" dirty="0" smtClean="0">
          <a:solidFill>
            <a:schemeClr val="tx1"/>
          </a:solidFill>
          <a:latin typeface="+mn-lt"/>
          <a:ea typeface="+mn-ea"/>
          <a:cs typeface="+mn-cs"/>
        </a:defRPr>
      </a:lvl3pPr>
      <a:lvl4pPr marL="358888" marR="0" indent="-119629" algn="l" defTabSz="685767" rtl="0" eaLnBrk="1" fontAlgn="auto" latinLnBrk="0" hangingPunct="1">
        <a:lnSpc>
          <a:spcPct val="106000"/>
        </a:lnSpc>
        <a:spcBef>
          <a:spcPts val="166"/>
        </a:spcBef>
        <a:spcAft>
          <a:spcPts val="0"/>
        </a:spcAft>
        <a:buClrTx/>
        <a:buSzPct val="100000"/>
        <a:buFont typeface="Arial" panose="020B0604020202020204" pitchFamily="34" charset="0"/>
        <a:buChar char="•"/>
        <a:tabLst/>
        <a:defRPr kumimoji="1" lang="en-US" sz="831" b="0" kern="1200" baseline="0" dirty="0" smtClean="0">
          <a:solidFill>
            <a:schemeClr val="tx1"/>
          </a:solidFill>
          <a:latin typeface="+mn-lt"/>
          <a:ea typeface="+mn-ea"/>
          <a:cs typeface="+mn-cs"/>
        </a:defRPr>
      </a:lvl4pPr>
      <a:lvl5pPr marL="399581" indent="-132294" algn="l" defTabSz="598856" rtl="0" eaLnBrk="1" latinLnBrk="0" hangingPunct="1">
        <a:spcBef>
          <a:spcPts val="0"/>
        </a:spcBef>
        <a:spcAft>
          <a:spcPts val="750"/>
        </a:spcAft>
        <a:buClrTx/>
        <a:buSzPct val="100000"/>
        <a:buFont typeface="Verdana" panose="020B0604030504040204" pitchFamily="34" charset="0"/>
        <a:buChar char="−"/>
        <a:tabLst/>
        <a:defRPr kumimoji="1" lang="en-US" sz="825" kern="1200" baseline="0" dirty="0" smtClean="0">
          <a:solidFill>
            <a:schemeClr val="tx1"/>
          </a:solidFill>
          <a:latin typeface="+mn-lt"/>
          <a:ea typeface="+mn-ea"/>
          <a:cs typeface="+mn-cs"/>
        </a:defRPr>
      </a:lvl5pPr>
      <a:lvl6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6pPr>
      <a:lvl7pPr marL="399581" indent="-132294" algn="l" defTabSz="685767" rtl="0" eaLnBrk="1" latinLnBrk="0" hangingPunct="1">
        <a:spcBef>
          <a:spcPts val="0"/>
        </a:spcBef>
        <a:spcAft>
          <a:spcPts val="750"/>
        </a:spcAft>
        <a:buFont typeface="Verdana" panose="020B0604030504040204" pitchFamily="34" charset="0"/>
        <a:buChar char="−"/>
        <a:defRPr kumimoji="1" sz="900" kern="1200">
          <a:solidFill>
            <a:schemeClr val="tx1"/>
          </a:solidFill>
          <a:latin typeface="+mn-lt"/>
          <a:ea typeface="+mn-ea"/>
          <a:cs typeface="+mn-cs"/>
        </a:defRPr>
      </a:lvl7pPr>
      <a:lvl8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8pPr>
      <a:lvl9pPr marL="399581" indent="-132294" algn="l" defTabSz="685767" rtl="0" eaLnBrk="1" latinLnBrk="0" hangingPunct="1">
        <a:spcBef>
          <a:spcPts val="0"/>
        </a:spcBef>
        <a:spcAft>
          <a:spcPts val="750"/>
        </a:spcAft>
        <a:buFont typeface="Verdana" panose="020B0604030504040204" pitchFamily="34" charset="0"/>
        <a:buChar char="−"/>
        <a:defRPr kumimoji="1" sz="900" kern="1200" baseline="0">
          <a:solidFill>
            <a:schemeClr val="tx1"/>
          </a:solidFill>
          <a:latin typeface="+mn-lt"/>
          <a:ea typeface="+mn-ea"/>
          <a:cs typeface="+mn-cs"/>
        </a:defRPr>
      </a:lvl9pPr>
    </p:bodyStyle>
    <p:otherStyle>
      <a:defPPr>
        <a:defRPr lang="en-US"/>
      </a:defPPr>
      <a:lvl1pPr marL="0" algn="l" defTabSz="685767" rtl="0" eaLnBrk="1" latinLnBrk="0" hangingPunct="1">
        <a:defRPr kumimoji="1" sz="1350" kern="1200">
          <a:solidFill>
            <a:schemeClr val="tx1"/>
          </a:solidFill>
          <a:latin typeface="+mn-lt"/>
          <a:ea typeface="+mn-ea"/>
          <a:cs typeface="+mn-cs"/>
        </a:defRPr>
      </a:lvl1pPr>
      <a:lvl2pPr marL="342884" algn="l" defTabSz="685767" rtl="0" eaLnBrk="1" latinLnBrk="0" hangingPunct="1">
        <a:defRPr kumimoji="1" sz="1350" kern="1200">
          <a:solidFill>
            <a:schemeClr val="tx1"/>
          </a:solidFill>
          <a:latin typeface="+mn-lt"/>
          <a:ea typeface="+mn-ea"/>
          <a:cs typeface="+mn-cs"/>
        </a:defRPr>
      </a:lvl2pPr>
      <a:lvl3pPr marL="685767" algn="l" defTabSz="685767" rtl="0" eaLnBrk="1" latinLnBrk="0" hangingPunct="1">
        <a:defRPr kumimoji="1" sz="1350" kern="1200">
          <a:solidFill>
            <a:schemeClr val="tx1"/>
          </a:solidFill>
          <a:latin typeface="+mn-lt"/>
          <a:ea typeface="+mn-ea"/>
          <a:cs typeface="+mn-cs"/>
        </a:defRPr>
      </a:lvl3pPr>
      <a:lvl4pPr marL="1028651" algn="l" defTabSz="685767" rtl="0" eaLnBrk="1" latinLnBrk="0" hangingPunct="1">
        <a:defRPr kumimoji="1" sz="1350" kern="1200">
          <a:solidFill>
            <a:schemeClr val="tx1"/>
          </a:solidFill>
          <a:latin typeface="+mn-lt"/>
          <a:ea typeface="+mn-ea"/>
          <a:cs typeface="+mn-cs"/>
        </a:defRPr>
      </a:lvl4pPr>
      <a:lvl5pPr marL="1371534" algn="l" defTabSz="685767" rtl="0" eaLnBrk="1" latinLnBrk="0" hangingPunct="1">
        <a:defRPr kumimoji="1" sz="1350" kern="1200">
          <a:solidFill>
            <a:schemeClr val="tx1"/>
          </a:solidFill>
          <a:latin typeface="+mn-lt"/>
          <a:ea typeface="+mn-ea"/>
          <a:cs typeface="+mn-cs"/>
        </a:defRPr>
      </a:lvl5pPr>
      <a:lvl6pPr marL="1714419" algn="l" defTabSz="685767" rtl="0" eaLnBrk="1" latinLnBrk="0" hangingPunct="1">
        <a:defRPr kumimoji="1" sz="1350" kern="1200">
          <a:solidFill>
            <a:schemeClr val="tx1"/>
          </a:solidFill>
          <a:latin typeface="+mn-lt"/>
          <a:ea typeface="+mn-ea"/>
          <a:cs typeface="+mn-cs"/>
        </a:defRPr>
      </a:lvl6pPr>
      <a:lvl7pPr marL="2057302" algn="l" defTabSz="685767" rtl="0" eaLnBrk="1" latinLnBrk="0" hangingPunct="1">
        <a:defRPr kumimoji="1" sz="1350" kern="1200">
          <a:solidFill>
            <a:schemeClr val="tx1"/>
          </a:solidFill>
          <a:latin typeface="+mn-lt"/>
          <a:ea typeface="+mn-ea"/>
          <a:cs typeface="+mn-cs"/>
        </a:defRPr>
      </a:lvl7pPr>
      <a:lvl8pPr marL="2400185" algn="l" defTabSz="685767" rtl="0" eaLnBrk="1" latinLnBrk="0" hangingPunct="1">
        <a:defRPr kumimoji="1" sz="1350" kern="1200">
          <a:solidFill>
            <a:schemeClr val="tx1"/>
          </a:solidFill>
          <a:latin typeface="+mn-lt"/>
          <a:ea typeface="+mn-ea"/>
          <a:cs typeface="+mn-cs"/>
        </a:defRPr>
      </a:lvl8pPr>
      <a:lvl9pPr marL="2743069" algn="l" defTabSz="685767" rtl="0" eaLnBrk="1" latinLnBrk="0" hangingPunct="1">
        <a:defRPr kumimoji="1"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2160" userDrawn="1">
          <p15:clr>
            <a:srgbClr val="A4A3A4"/>
          </p15:clr>
        </p15:guide>
        <p15:guide id="1" orient="horz" pos="139" userDrawn="1">
          <p15:clr>
            <a:srgbClr val="A4A3A4"/>
          </p15:clr>
        </p15:guide>
        <p15:guide id="2" pos="2082" userDrawn="1">
          <p15:clr>
            <a:srgbClr val="A4A3A4"/>
          </p15:clr>
        </p15:guide>
        <p15:guide id="3" pos="2238" userDrawn="1">
          <p15:clr>
            <a:srgbClr val="A4A3A4"/>
          </p15:clr>
        </p15:guide>
        <p15:guide id="4" pos="4139" userDrawn="1">
          <p15:clr>
            <a:srgbClr val="A4A3A4"/>
          </p15:clr>
        </p15:guide>
        <p15:guide id="5" pos="181" userDrawn="1">
          <p15:clr>
            <a:srgbClr val="A4A3A4"/>
          </p15:clr>
        </p15:guide>
        <p15:guide id="6" orient="horz" pos="728" userDrawn="1">
          <p15:clr>
            <a:srgbClr val="A4A3A4"/>
          </p15:clr>
        </p15:guide>
        <p15:guide id="7" orient="horz" pos="924" userDrawn="1">
          <p15:clr>
            <a:srgbClr val="A4A3A4"/>
          </p15:clr>
        </p15:guide>
        <p15:guide id="8" orient="horz" pos="1351" userDrawn="1">
          <p15:clr>
            <a:srgbClr val="A4A3A4"/>
          </p15:clr>
        </p15:guide>
        <p15:guide id="9" orient="horz" pos="5740" userDrawn="1">
          <p15:clr>
            <a:srgbClr val="A4A3A4"/>
          </p15:clr>
        </p15:guide>
        <p15:guide id="10" orient="horz" pos="6003" userDrawn="1">
          <p15:clr>
            <a:srgbClr val="A4A3A4"/>
          </p15:clr>
        </p15:guide>
        <p15:guide id="11" orient="horz" pos="6166"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1867" y="126242"/>
            <a:ext cx="916389" cy="752437"/>
          </a:xfrm>
          <a:prstGeom prst="rect">
            <a:avLst/>
          </a:prstGeom>
          <a:solidFill>
            <a:srgbClr val="7DC1E4"/>
          </a:solidFill>
        </p:spPr>
      </p:pic>
      <p:sp>
        <p:nvSpPr>
          <p:cNvPr id="5" name="角丸四角形 4"/>
          <p:cNvSpPr/>
          <p:nvPr/>
        </p:nvSpPr>
        <p:spPr bwMode="gray">
          <a:xfrm>
            <a:off x="279000" y="972782"/>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en-US" altLang="ja-JP" sz="1400" b="1" dirty="0">
                <a:solidFill>
                  <a:schemeClr val="bg1"/>
                </a:solidFill>
                <a:latin typeface="メイリオ" panose="020B0604030504040204" pitchFamily="50" charset="-128"/>
                <a:ea typeface="メイリオ" panose="020B0604030504040204" pitchFamily="50" charset="-128"/>
              </a:rPr>
              <a:t>1</a:t>
            </a:r>
            <a:r>
              <a:rPr kumimoji="1" lang="ja-JP" altLang="en-US" sz="1400" b="1" dirty="0" err="1">
                <a:solidFill>
                  <a:schemeClr val="bg1"/>
                </a:solidFill>
                <a:latin typeface="メイリオ" panose="020B0604030504040204" pitchFamily="50" charset="-128"/>
                <a:ea typeface="メイリオ" panose="020B0604030504040204" pitchFamily="50" charset="-128"/>
              </a:rPr>
              <a:t>．</a:t>
            </a:r>
            <a:r>
              <a:rPr kumimoji="1" lang="ja-JP" altLang="en-US" sz="1400" b="1" dirty="0">
                <a:solidFill>
                  <a:schemeClr val="bg1"/>
                </a:solidFill>
                <a:latin typeface="メイリオ" panose="020B0604030504040204" pitchFamily="50" charset="-128"/>
                <a:ea typeface="メイリオ" panose="020B0604030504040204" pitchFamily="50" charset="-128"/>
              </a:rPr>
              <a:t>あなたご自身について</a:t>
            </a:r>
          </a:p>
        </p:txBody>
      </p:sp>
      <p:sp>
        <p:nvSpPr>
          <p:cNvPr id="7" name="角丸四角形 6"/>
          <p:cNvSpPr/>
          <p:nvPr/>
        </p:nvSpPr>
        <p:spPr bwMode="gray">
          <a:xfrm>
            <a:off x="279000" y="1668533"/>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２．宅配便の受取頻度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58" name="テキスト ボックス 57"/>
          <p:cNvSpPr txBox="1"/>
          <p:nvPr/>
        </p:nvSpPr>
        <p:spPr>
          <a:xfrm>
            <a:off x="279000" y="1918910"/>
            <a:ext cx="6300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あなたご自身で、</a:t>
            </a:r>
            <a:r>
              <a:rPr kumimoji="1" lang="ja-JP" altLang="en-US" sz="1100" b="1" u="sng" dirty="0">
                <a:latin typeface="メイリオ" panose="020B0604030504040204" pitchFamily="50" charset="-128"/>
                <a:ea typeface="メイリオ" panose="020B0604030504040204" pitchFamily="50" charset="-128"/>
              </a:rPr>
              <a:t>宅配を受け取る頻度</a:t>
            </a:r>
            <a:r>
              <a:rPr kumimoji="1" lang="ja-JP" altLang="en-US" sz="1100" dirty="0">
                <a:latin typeface="メイリオ" panose="020B0604030504040204" pitchFamily="50" charset="-128"/>
                <a:ea typeface="メイリオ" panose="020B0604030504040204" pitchFamily="50" charset="-128"/>
              </a:rPr>
              <a:t>についてお答えください。</a:t>
            </a:r>
            <a:r>
              <a:rPr kumimoji="1" lang="en-US" altLang="ja-JP" sz="1100" dirty="0">
                <a:latin typeface="メイリオ" panose="020B0604030504040204" pitchFamily="50" charset="-128"/>
                <a:ea typeface="メイリオ" panose="020B0604030504040204" pitchFamily="50" charset="-128"/>
              </a:rPr>
              <a:t/>
            </a:r>
            <a:br>
              <a:rPr kumimoji="1" lang="en-US" altLang="ja-JP" sz="1100" dirty="0">
                <a:latin typeface="メイリオ" panose="020B0604030504040204" pitchFamily="50" charset="-128"/>
                <a:ea typeface="メイリオ" panose="020B0604030504040204" pitchFamily="50" charset="-128"/>
              </a:rPr>
            </a:b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同居ご家族あての宅配も含む）</a:t>
            </a:r>
          </a:p>
        </p:txBody>
      </p:sp>
      <p:sp>
        <p:nvSpPr>
          <p:cNvPr id="100" name="角丸四角形 99"/>
          <p:cNvSpPr/>
          <p:nvPr/>
        </p:nvSpPr>
        <p:spPr bwMode="gray">
          <a:xfrm>
            <a:off x="279000" y="3021836"/>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３．再配達の頻度について</a:t>
            </a:r>
            <a:endParaRPr kumimoji="1" lang="ja-JP" altLang="en-US" sz="1400" b="1" dirty="0">
              <a:solidFill>
                <a:schemeClr val="bg1"/>
              </a:solidFill>
              <a:latin typeface="メイリオ" panose="020B0604030504040204" pitchFamily="50" charset="-128"/>
              <a:ea typeface="メイリオ" panose="020B0604030504040204" pitchFamily="50" charset="-128"/>
            </a:endParaRPr>
          </a:p>
        </p:txBody>
      </p:sp>
      <p:sp>
        <p:nvSpPr>
          <p:cNvPr id="101" name="テキスト ボックス 100"/>
          <p:cNvSpPr txBox="1"/>
          <p:nvPr/>
        </p:nvSpPr>
        <p:spPr>
          <a:xfrm>
            <a:off x="279000" y="3283099"/>
            <a:ext cx="6300000" cy="432000"/>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あなたのご自宅で、荷物の受取の際に</a:t>
            </a:r>
            <a:r>
              <a:rPr kumimoji="1" lang="ja-JP" altLang="en-US" sz="1100" b="1" u="sng" dirty="0">
                <a:latin typeface="メイリオ" panose="020B0604030504040204" pitchFamily="50" charset="-128"/>
                <a:ea typeface="メイリオ" panose="020B0604030504040204" pitchFamily="50" charset="-128"/>
              </a:rPr>
              <a:t>再配達となる割合</a:t>
            </a:r>
            <a:r>
              <a:rPr kumimoji="1" lang="ja-JP" altLang="en-US" sz="1100" dirty="0">
                <a:latin typeface="メイリオ" panose="020B0604030504040204" pitchFamily="50" charset="-128"/>
                <a:ea typeface="メイリオ" panose="020B0604030504040204" pitchFamily="50" charset="-128"/>
              </a:rPr>
              <a:t>をお答えください。</a:t>
            </a:r>
            <a:endParaRPr kumimoji="1" lang="en-US" altLang="ja-JP" sz="1100" dirty="0">
              <a:latin typeface="メイリオ" panose="020B0604030504040204" pitchFamily="50" charset="-128"/>
              <a:ea typeface="メイリオ" panose="020B0604030504040204" pitchFamily="50" charset="-128"/>
            </a:endParaRPr>
          </a:p>
          <a:p>
            <a:pPr>
              <a:spcBef>
                <a:spcPts val="0"/>
              </a:spcBef>
              <a:buSzPct val="100000"/>
              <a:tabLst>
                <a:tab pos="182563" algn="l"/>
              </a:tabLst>
            </a:pP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同居ご家族あての宅配も含む）</a:t>
            </a:r>
          </a:p>
        </p:txBody>
      </p:sp>
      <p:sp>
        <p:nvSpPr>
          <p:cNvPr id="102" name="テキスト ボックス 101"/>
          <p:cNvSpPr txBox="1"/>
          <p:nvPr/>
        </p:nvSpPr>
        <p:spPr>
          <a:xfrm>
            <a:off x="279000" y="3665159"/>
            <a:ext cx="3276001" cy="86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a:t>
            </a:r>
            <a:r>
              <a:rPr kumimoji="1" lang="en-US" altLang="ja-JP"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ほぼ</a:t>
            </a:r>
            <a:r>
              <a:rPr kumimoji="1" lang="ja-JP" altLang="en-US" sz="900" dirty="0">
                <a:latin typeface="メイリオ" panose="020B0604030504040204" pitchFamily="50" charset="-128"/>
                <a:ea typeface="メイリオ" panose="020B0604030504040204" pitchFamily="50" charset="-128"/>
              </a:rPr>
              <a:t>すべての荷物で再配達をお願いしていた（９割以上）</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半分</a:t>
            </a:r>
            <a:r>
              <a:rPr kumimoji="1" lang="ja-JP" altLang="en-US" sz="900" dirty="0">
                <a:latin typeface="メイリオ" panose="020B0604030504040204" pitchFamily="50" charset="-128"/>
                <a:ea typeface="メイリオ" panose="020B0604030504040204" pitchFamily="50" charset="-128"/>
              </a:rPr>
              <a:t>以上の荷物で再配達をお願いしていた（５割以上）</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３割</a:t>
            </a:r>
            <a:r>
              <a:rPr kumimoji="1" lang="ja-JP" altLang="en-US" sz="900" dirty="0">
                <a:latin typeface="メイリオ" panose="020B0604030504040204" pitchFamily="50" charset="-128"/>
                <a:ea typeface="メイリオ" panose="020B0604030504040204" pitchFamily="50" charset="-128"/>
              </a:rPr>
              <a:t>程度の荷物で再配達をお願いしていた（３割以上</a:t>
            </a:r>
            <a:r>
              <a:rPr kumimoji="1" lang="ja-JP" altLang="en-US" sz="900" dirty="0" smtClean="0">
                <a:latin typeface="メイリオ" panose="020B0604030504040204" pitchFamily="50" charset="-128"/>
                <a:ea typeface="メイリオ" panose="020B0604030504040204" pitchFamily="50" charset="-128"/>
              </a:rPr>
              <a:t>）</a:t>
            </a:r>
          </a:p>
        </p:txBody>
      </p:sp>
      <p:sp>
        <p:nvSpPr>
          <p:cNvPr id="19" name="テキスト ボックス 18"/>
          <p:cNvSpPr txBox="1"/>
          <p:nvPr/>
        </p:nvSpPr>
        <p:spPr>
          <a:xfrm>
            <a:off x="279001" y="8567700"/>
            <a:ext cx="6300000" cy="226591"/>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100" dirty="0" smtClean="0">
                <a:latin typeface="メイリオ" panose="020B0604030504040204" pitchFamily="50" charset="-128"/>
                <a:ea typeface="メイリオ" panose="020B0604030504040204" pitchFamily="50" charset="-128"/>
              </a:rPr>
              <a:t>★ご協力ありがとうございました。</a:t>
            </a:r>
          </a:p>
        </p:txBody>
      </p:sp>
      <p:grpSp>
        <p:nvGrpSpPr>
          <p:cNvPr id="16" name="グループ化 15"/>
          <p:cNvGrpSpPr/>
          <p:nvPr/>
        </p:nvGrpSpPr>
        <p:grpSpPr>
          <a:xfrm>
            <a:off x="279000" y="7471506"/>
            <a:ext cx="6300001" cy="1018115"/>
            <a:chOff x="278999" y="7174415"/>
            <a:chExt cx="6300001" cy="1018115"/>
          </a:xfrm>
        </p:grpSpPr>
        <p:sp>
          <p:nvSpPr>
            <p:cNvPr id="10" name="角丸四角形 9"/>
            <p:cNvSpPr/>
            <p:nvPr/>
          </p:nvSpPr>
          <p:spPr bwMode="gray">
            <a:xfrm>
              <a:off x="279000" y="7174415"/>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６．</a:t>
              </a:r>
              <a:r>
                <a:rPr kumimoji="1" lang="ja-JP" altLang="en-US" sz="1400" b="1" dirty="0">
                  <a:solidFill>
                    <a:schemeClr val="bg1"/>
                  </a:solidFill>
                  <a:latin typeface="メイリオ" panose="020B0604030504040204" pitchFamily="50" charset="-128"/>
                  <a:ea typeface="メイリオ" panose="020B0604030504040204" pitchFamily="50" charset="-128"/>
                </a:rPr>
                <a:t>追跡</a:t>
              </a:r>
              <a:r>
                <a:rPr kumimoji="1" lang="ja-JP" altLang="en-US" sz="1400" b="1" dirty="0" smtClean="0">
                  <a:solidFill>
                    <a:schemeClr val="bg1"/>
                  </a:solidFill>
                  <a:latin typeface="メイリオ" panose="020B0604030504040204" pitchFamily="50" charset="-128"/>
                  <a:ea typeface="メイリオ" panose="020B0604030504040204" pitchFamily="50" charset="-128"/>
                </a:rPr>
                <a:t>アンケート</a:t>
              </a:r>
              <a:r>
                <a:rPr kumimoji="1" lang="ja-JP" altLang="en-US" sz="1400" b="1" dirty="0">
                  <a:solidFill>
                    <a:schemeClr val="bg1"/>
                  </a:solidFill>
                  <a:latin typeface="メイリオ" panose="020B0604030504040204" pitchFamily="50" charset="-128"/>
                  <a:ea typeface="メイリオ" panose="020B0604030504040204" pitchFamily="50" charset="-128"/>
                </a:rPr>
                <a:t>へのご協力のお願い</a:t>
              </a:r>
            </a:p>
          </p:txBody>
        </p:sp>
        <p:sp>
          <p:nvSpPr>
            <p:cNvPr id="60" name="テキスト ボックス 59"/>
            <p:cNvSpPr txBox="1"/>
            <p:nvPr/>
          </p:nvSpPr>
          <p:spPr>
            <a:xfrm>
              <a:off x="278999" y="7457452"/>
              <a:ext cx="6300000" cy="226591"/>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WEB</a:t>
              </a:r>
              <a:r>
                <a:rPr kumimoji="1" lang="ja-JP" altLang="en-US" sz="1200" dirty="0">
                  <a:latin typeface="メイリオ" panose="020B0604030504040204" pitchFamily="50" charset="-128"/>
                  <a:ea typeface="メイリオ" panose="020B0604030504040204" pitchFamily="50" charset="-128"/>
                </a:rPr>
                <a:t>アンケート実施のためメールアドレスをご記入</a:t>
              </a:r>
              <a:r>
                <a:rPr kumimoji="1" lang="ja-JP" altLang="en-US" sz="1200" dirty="0" smtClean="0">
                  <a:latin typeface="メイリオ" panose="020B0604030504040204" pitchFamily="50" charset="-128"/>
                  <a:ea typeface="メイリオ" panose="020B0604030504040204" pitchFamily="50" charset="-128"/>
                </a:rPr>
                <a:t>ください</a:t>
              </a:r>
              <a:r>
                <a:rPr kumimoji="1" lang="ja-JP" altLang="en-US" sz="1200" baseline="30000" dirty="0" smtClean="0">
                  <a:latin typeface="メイリオ" panose="020B0604030504040204" pitchFamily="50" charset="-128"/>
                  <a:ea typeface="メイリオ" panose="020B0604030504040204" pitchFamily="50" charset="-128"/>
                </a:rPr>
                <a:t>*</a:t>
              </a:r>
              <a:r>
                <a:rPr kumimoji="1" lang="en-US" altLang="ja-JP" sz="1200" baseline="30000" dirty="0">
                  <a:latin typeface="メイリオ" panose="020B0604030504040204" pitchFamily="50" charset="-128"/>
                  <a:ea typeface="メイリオ" panose="020B0604030504040204" pitchFamily="50" charset="-128"/>
                </a:rPr>
                <a:t>1</a:t>
              </a:r>
              <a:r>
                <a:rPr kumimoji="1" lang="ja-JP" altLang="en-US" sz="1200" dirty="0" err="1" smtClean="0">
                  <a:latin typeface="メイリオ" panose="020B0604030504040204" pitchFamily="50" charset="-128"/>
                  <a:ea typeface="メイリオ" panose="020B0604030504040204" pitchFamily="50" charset="-128"/>
                </a:rPr>
                <a:t>。</a:t>
              </a:r>
              <a:endParaRPr kumimoji="1" lang="ja-JP" altLang="en-US" sz="1200" dirty="0" smtClean="0">
                <a:latin typeface="メイリオ" panose="020B0604030504040204" pitchFamily="50" charset="-128"/>
                <a:ea typeface="メイリオ" panose="020B0604030504040204" pitchFamily="50" charset="-128"/>
              </a:endParaRPr>
            </a:p>
          </p:txBody>
        </p:sp>
        <p:sp>
          <p:nvSpPr>
            <p:cNvPr id="62" name="テキスト ボックス 61"/>
            <p:cNvSpPr txBox="1"/>
            <p:nvPr/>
          </p:nvSpPr>
          <p:spPr>
            <a:xfrm>
              <a:off x="4268892" y="7688689"/>
              <a:ext cx="2301772" cy="226591"/>
            </a:xfrm>
            <a:prstGeom prst="rect">
              <a:avLst/>
            </a:prstGeom>
            <a:noFill/>
          </p:spPr>
          <p:txBody>
            <a:bodyPr wrap="square" lIns="36000" tIns="36000" rIns="36000" bIns="36000" rtlCol="0" anchor="t" anchorCtr="0">
              <a:noAutofit/>
            </a:bodyPr>
            <a:lstStyle/>
            <a:p>
              <a:pPr>
                <a:spcBef>
                  <a:spcPts val="0"/>
                </a:spcBef>
                <a:buSzPct val="100000"/>
              </a:pPr>
              <a:r>
                <a:rPr kumimoji="1" lang="en-US" altLang="ja-JP" sz="1050" dirty="0" smtClean="0">
                  <a:latin typeface="メイリオ" panose="020B0604030504040204" pitchFamily="50" charset="-128"/>
                  <a:ea typeface="メイリオ" panose="020B0604030504040204" pitchFamily="50" charset="-128"/>
                </a:rPr>
                <a:t>@ </a:t>
              </a:r>
              <a:r>
                <a:rPr kumimoji="1" lang="ja-JP" altLang="en-US" sz="1050" dirty="0" smtClean="0">
                  <a:latin typeface="メイリオ" panose="020B0604030504040204" pitchFamily="50" charset="-128"/>
                  <a:ea typeface="メイリオ" panose="020B0604030504040204" pitchFamily="50" charset="-128"/>
                </a:rPr>
                <a:t>以下</a:t>
              </a:r>
              <a:r>
                <a:rPr kumimoji="1" lang="ja-JP" altLang="en-US" sz="1050" dirty="0">
                  <a:latin typeface="メイリオ" panose="020B0604030504040204" pitchFamily="50" charset="-128"/>
                  <a:ea typeface="メイリオ" panose="020B0604030504040204" pitchFamily="50" charset="-128"/>
                </a:rPr>
                <a:t>は下から選択して下さい</a:t>
              </a:r>
              <a:endParaRPr kumimoji="1" lang="ja-JP" altLang="en-US" sz="1050" dirty="0" smtClean="0">
                <a:latin typeface="メイリオ" panose="020B0604030504040204" pitchFamily="50" charset="-128"/>
                <a:ea typeface="メイリオ" panose="020B0604030504040204" pitchFamily="50" charset="-128"/>
              </a:endParaRPr>
            </a:p>
          </p:txBody>
        </p:sp>
        <p:sp>
          <p:nvSpPr>
            <p:cNvPr id="63" name="テキスト ボックス 62"/>
            <p:cNvSpPr txBox="1"/>
            <p:nvPr/>
          </p:nvSpPr>
          <p:spPr>
            <a:xfrm>
              <a:off x="279000" y="7965939"/>
              <a:ext cx="6300000" cy="226591"/>
            </a:xfrm>
            <a:prstGeom prst="rect">
              <a:avLst/>
            </a:prstGeom>
            <a:noFill/>
          </p:spPr>
          <p:txBody>
            <a:bodyPr wrap="square" lIns="36000" tIns="36000" rIns="36000" bIns="36000" rtlCol="0" anchor="t" anchorCtr="0">
              <a:noAutofit/>
            </a:bodyPr>
            <a:lstStyle/>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docomo.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ezweb.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i.softbank.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softbank.ne.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yahoo.co.jp</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gmail.com</a:t>
              </a:r>
            </a:p>
            <a:p>
              <a:pPr>
                <a:spcBef>
                  <a:spcPts val="0"/>
                </a:spcBef>
                <a:buSzPct val="100000"/>
                <a:tabLst>
                  <a:tab pos="1168400" algn="l"/>
                </a:tabLst>
              </a:pP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その他（</a:t>
              </a:r>
              <a:r>
                <a:rPr kumimoji="1" lang="ja-JP" altLang="en-US" sz="900" dirty="0">
                  <a:latin typeface="メイリオ" panose="020B0604030504040204" pitchFamily="50" charset="-128"/>
                  <a:ea typeface="メイリオ" panose="020B0604030504040204" pitchFamily="50" charset="-128"/>
                </a:rPr>
                <a:t>　　　　　　　　　　　　　　　　）</a:t>
              </a:r>
            </a:p>
          </p:txBody>
        </p:sp>
        <p:cxnSp>
          <p:nvCxnSpPr>
            <p:cNvPr id="69" name="直線コネクタ 68"/>
            <p:cNvCxnSpPr/>
            <p:nvPr/>
          </p:nvCxnSpPr>
          <p:spPr>
            <a:xfrm>
              <a:off x="278999" y="7915280"/>
              <a:ext cx="398989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71" name="テキスト ボックス 70"/>
          <p:cNvSpPr txBox="1"/>
          <p:nvPr/>
        </p:nvSpPr>
        <p:spPr>
          <a:xfrm>
            <a:off x="324775" y="6240574"/>
            <a:ext cx="6300000" cy="100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CO</a:t>
            </a:r>
            <a:r>
              <a:rPr kumimoji="1" lang="ja-JP" altLang="en-US" sz="900" dirty="0">
                <a:latin typeface="メイリオ" panose="020B0604030504040204" pitchFamily="50" charset="-128"/>
                <a:ea typeface="メイリオ" panose="020B0604030504040204" pitchFamily="50" charset="-128"/>
              </a:rPr>
              <a:t>２削減に貢献するため</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再配達</a:t>
            </a:r>
            <a:r>
              <a:rPr kumimoji="1" lang="ja-JP" altLang="en-US" sz="900" dirty="0">
                <a:latin typeface="メイリオ" panose="020B0604030504040204" pitchFamily="50" charset="-128"/>
                <a:ea typeface="メイリオ" panose="020B0604030504040204" pitchFamily="50" charset="-128"/>
              </a:rPr>
              <a:t>を削減するための具体的な方法がわかったため（事前通知サービスの活用等）</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宅配便</a:t>
            </a:r>
            <a:r>
              <a:rPr kumimoji="1" lang="ja-JP" altLang="en-US" sz="900" dirty="0">
                <a:latin typeface="メイリオ" panose="020B0604030504040204" pitchFamily="50" charset="-128"/>
                <a:ea typeface="メイリオ" panose="020B0604030504040204" pitchFamily="50" charset="-128"/>
              </a:rPr>
              <a:t>の約２割が再配達になっていることを知ったため</a:t>
            </a:r>
          </a:p>
          <a:p>
            <a:pPr>
              <a:spcBef>
                <a:spcPts val="0"/>
              </a:spcBef>
              <a:buSzPct val="100000"/>
              <a:tabLst>
                <a:tab pos="182563" algn="l"/>
              </a:tabLst>
            </a:pPr>
            <a:r>
              <a:rPr kumimoji="1" lang="ja-JP" altLang="en-US" sz="900" dirty="0" smtClean="0">
                <a:latin typeface="メイリオ" panose="020B0604030504040204" pitchFamily="50" charset="-128"/>
                <a:ea typeface="メイリオ" panose="020B0604030504040204" pitchFamily="50" charset="-128"/>
              </a:rPr>
              <a:t>□ 再配達</a:t>
            </a:r>
            <a:r>
              <a:rPr kumimoji="1" lang="ja-JP" altLang="en-US" sz="900" dirty="0">
                <a:latin typeface="メイリオ" panose="020B0604030504040204" pitchFamily="50" charset="-128"/>
                <a:ea typeface="メイリオ" panose="020B0604030504040204" pitchFamily="50" charset="-128"/>
              </a:rPr>
              <a:t>の増加により、配達ドライバー１０人のうち１人は一日中再配達を担当して</a:t>
            </a:r>
            <a:r>
              <a:rPr kumimoji="1" lang="ja-JP" altLang="en-US" sz="900" dirty="0" smtClean="0">
                <a:latin typeface="メイリオ" panose="020B0604030504040204" pitchFamily="50" charset="-128"/>
                <a:ea typeface="メイリオ" panose="020B0604030504040204" pitchFamily="50" charset="-128"/>
              </a:rPr>
              <a:t>いる計算</a:t>
            </a:r>
            <a:r>
              <a:rPr kumimoji="1" lang="ja-JP" altLang="en-US" sz="900" dirty="0">
                <a:latin typeface="メイリオ" panose="020B0604030504040204" pitchFamily="50" charset="-128"/>
                <a:ea typeface="メイリオ" panose="020B0604030504040204" pitchFamily="50" charset="-128"/>
              </a:rPr>
              <a:t>に</a:t>
            </a:r>
            <a:r>
              <a:rPr kumimoji="1" lang="ja-JP" altLang="en-US" sz="900" dirty="0" smtClean="0">
                <a:latin typeface="メイリオ" panose="020B0604030504040204" pitchFamily="50" charset="-128"/>
                <a:ea typeface="メイリオ" panose="020B0604030504040204" pitchFamily="50" charset="-128"/>
              </a:rPr>
              <a:t>なること</a:t>
            </a:r>
            <a:r>
              <a:rPr kumimoji="1" lang="ja-JP" altLang="en-US" sz="900" dirty="0">
                <a:latin typeface="メイリオ" panose="020B0604030504040204" pitchFamily="50" charset="-128"/>
                <a:ea typeface="メイリオ" panose="020B0604030504040204" pitchFamily="50" charset="-128"/>
              </a:rPr>
              <a:t>を知ったため　</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回</a:t>
            </a:r>
            <a:r>
              <a:rPr kumimoji="1" lang="ja-JP" altLang="en-US" sz="900" dirty="0">
                <a:latin typeface="メイリオ" panose="020B0604030504040204" pitchFamily="50" charset="-128"/>
                <a:ea typeface="メイリオ" panose="020B0604030504040204" pitchFamily="50" charset="-128"/>
              </a:rPr>
              <a:t>で受け取ることによりポイントがもらえるため</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送料</a:t>
            </a:r>
            <a:r>
              <a:rPr kumimoji="1" lang="ja-JP" altLang="en-US" sz="900" dirty="0">
                <a:latin typeface="メイリオ" panose="020B0604030504040204" pitchFamily="50" charset="-128"/>
                <a:ea typeface="メイリオ" panose="020B0604030504040204" pitchFamily="50" charset="-128"/>
              </a:rPr>
              <a:t>が値上げされるなど自分の生活に影響があると嫌だと思うため</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多く</a:t>
            </a:r>
            <a:r>
              <a:rPr kumimoji="1" lang="ja-JP" altLang="en-US" sz="900" dirty="0">
                <a:latin typeface="メイリオ" panose="020B0604030504040204" pitchFamily="50" charset="-128"/>
                <a:ea typeface="メイリオ" panose="020B0604030504040204" pitchFamily="50" charset="-128"/>
              </a:rPr>
              <a:t>の人が１回で受け取っており、自分もそうする必要があると思ったため</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その他</a:t>
            </a:r>
            <a:r>
              <a:rPr kumimoji="1" lang="ja-JP" altLang="en-US" sz="900" dirty="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a:t>
            </a:r>
            <a:endParaRPr kumimoji="1" lang="en-US" altLang="ja-JP" sz="900" dirty="0" smtClean="0">
              <a:latin typeface="メイリオ" panose="020B0604030504040204" pitchFamily="50" charset="-128"/>
              <a:ea typeface="メイリオ" panose="020B0604030504040204" pitchFamily="50" charset="-128"/>
            </a:endParaRPr>
          </a:p>
        </p:txBody>
      </p:sp>
      <p:sp>
        <p:nvSpPr>
          <p:cNvPr id="9" name="角丸四角形 8"/>
          <p:cNvSpPr/>
          <p:nvPr/>
        </p:nvSpPr>
        <p:spPr bwMode="gray">
          <a:xfrm>
            <a:off x="316437" y="5797524"/>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a:solidFill>
                  <a:schemeClr val="bg1"/>
                </a:solidFill>
                <a:latin typeface="メイリオ" panose="020B0604030504040204" pitchFamily="50" charset="-128"/>
                <a:ea typeface="メイリオ" panose="020B0604030504040204" pitchFamily="50" charset="-128"/>
              </a:rPr>
              <a:t>５</a:t>
            </a:r>
            <a:r>
              <a:rPr kumimoji="1" lang="ja-JP" altLang="en-US" sz="1400" b="1" dirty="0" smtClean="0">
                <a:solidFill>
                  <a:schemeClr val="bg1"/>
                </a:solidFill>
                <a:latin typeface="メイリオ" panose="020B0604030504040204" pitchFamily="50" charset="-128"/>
                <a:ea typeface="メイリオ" panose="020B0604030504040204" pitchFamily="50" charset="-128"/>
              </a:rPr>
              <a:t>．受取意向</a:t>
            </a:r>
            <a:r>
              <a:rPr kumimoji="1" lang="ja-JP" altLang="en-US" sz="1400" b="1" dirty="0">
                <a:solidFill>
                  <a:schemeClr val="bg1"/>
                </a:solidFill>
                <a:latin typeface="メイリオ" panose="020B0604030504040204" pitchFamily="50" charset="-128"/>
                <a:ea typeface="メイリオ" panose="020B0604030504040204" pitchFamily="50" charset="-128"/>
              </a:rPr>
              <a:t>の理由について</a:t>
            </a:r>
          </a:p>
        </p:txBody>
      </p:sp>
      <p:sp>
        <p:nvSpPr>
          <p:cNvPr id="72" name="テキスト ボックス 71"/>
          <p:cNvSpPr txBox="1"/>
          <p:nvPr/>
        </p:nvSpPr>
        <p:spPr>
          <a:xfrm>
            <a:off x="316437" y="6047903"/>
            <a:ext cx="6300000" cy="242066"/>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dirty="0">
                <a:latin typeface="メイリオ" panose="020B0604030504040204" pitchFamily="50" charset="-128"/>
                <a:ea typeface="メイリオ" panose="020B0604030504040204" pitchFamily="50" charset="-128"/>
              </a:rPr>
              <a:t>なぜ宅配便を１回で受け取りたいと思いましたか</a:t>
            </a:r>
            <a:r>
              <a:rPr kumimoji="1" lang="ja-JP" altLang="en-US" sz="1100" dirty="0" smtClean="0">
                <a:latin typeface="メイリオ" panose="020B0604030504040204" pitchFamily="50" charset="-128"/>
                <a:ea typeface="メイリオ" panose="020B0604030504040204" pitchFamily="50" charset="-128"/>
              </a:rPr>
              <a:t>（</a:t>
            </a:r>
            <a:r>
              <a:rPr kumimoji="1" lang="en-US" altLang="ja-JP" sz="1100" dirty="0" smtClean="0">
                <a:latin typeface="メイリオ" panose="020B0604030504040204" pitchFamily="50" charset="-128"/>
                <a:ea typeface="メイリオ" panose="020B0604030504040204" pitchFamily="50" charset="-128"/>
              </a:rPr>
              <a:t>3</a:t>
            </a:r>
            <a:r>
              <a:rPr kumimoji="1" lang="ja-JP" altLang="en-US" sz="1100" dirty="0" smtClean="0">
                <a:latin typeface="メイリオ" panose="020B0604030504040204" pitchFamily="50" charset="-128"/>
                <a:ea typeface="メイリオ" panose="020B0604030504040204" pitchFamily="50" charset="-128"/>
              </a:rPr>
              <a:t>つまで）</a:t>
            </a:r>
            <a:r>
              <a:rPr kumimoji="1" lang="ja-JP" altLang="en-US" sz="1100" dirty="0">
                <a:latin typeface="メイリオ" panose="020B0604030504040204" pitchFamily="50" charset="-128"/>
                <a:ea typeface="メイリオ" panose="020B0604030504040204" pitchFamily="50" charset="-128"/>
              </a:rPr>
              <a:t>。</a:t>
            </a:r>
          </a:p>
        </p:txBody>
      </p:sp>
      <p:sp>
        <p:nvSpPr>
          <p:cNvPr id="57" name="角丸四角形 56"/>
          <p:cNvSpPr/>
          <p:nvPr/>
        </p:nvSpPr>
        <p:spPr bwMode="gray">
          <a:xfrm>
            <a:off x="316437" y="4228891"/>
            <a:ext cx="6300000" cy="252000"/>
          </a:xfrm>
          <a:prstGeom prst="roundRect">
            <a:avLst/>
          </a:prstGeom>
          <a:solidFill>
            <a:srgbClr val="7DC1E4"/>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pPr>
            <a:r>
              <a:rPr kumimoji="1" lang="ja-JP" altLang="en-US" sz="1400" b="1" dirty="0" smtClean="0">
                <a:solidFill>
                  <a:schemeClr val="bg1"/>
                </a:solidFill>
                <a:latin typeface="メイリオ" panose="020B0604030504040204" pitchFamily="50" charset="-128"/>
                <a:ea typeface="メイリオ" panose="020B0604030504040204" pitchFamily="50" charset="-128"/>
              </a:rPr>
              <a:t>４．</a:t>
            </a:r>
            <a:r>
              <a:rPr kumimoji="1" lang="ja-JP" altLang="en-US" sz="1400" b="1" dirty="0">
                <a:solidFill>
                  <a:schemeClr val="bg1"/>
                </a:solidFill>
                <a:latin typeface="メイリオ" panose="020B0604030504040204" pitchFamily="50" charset="-128"/>
                <a:ea typeface="メイリオ" panose="020B0604030504040204" pitchFamily="50" charset="-128"/>
              </a:rPr>
              <a:t>今後</a:t>
            </a:r>
            <a:r>
              <a:rPr kumimoji="1" lang="ja-JP" altLang="en-US" sz="1400" b="1" dirty="0" smtClean="0">
                <a:solidFill>
                  <a:schemeClr val="bg1"/>
                </a:solidFill>
                <a:latin typeface="メイリオ" panose="020B0604030504040204" pitchFamily="50" charset="-128"/>
                <a:ea typeface="メイリオ" panose="020B0604030504040204" pitchFamily="50" charset="-128"/>
              </a:rPr>
              <a:t>の</a:t>
            </a:r>
            <a:r>
              <a:rPr kumimoji="1" lang="ja-JP" altLang="en-US" sz="1400" b="1" dirty="0">
                <a:solidFill>
                  <a:schemeClr val="bg1"/>
                </a:solidFill>
                <a:latin typeface="メイリオ" panose="020B0604030504040204" pitchFamily="50" charset="-128"/>
                <a:ea typeface="メイリオ" panose="020B0604030504040204" pitchFamily="50" charset="-128"/>
              </a:rPr>
              <a:t>宅配便</a:t>
            </a:r>
            <a:r>
              <a:rPr kumimoji="1" lang="ja-JP" altLang="en-US" sz="1400" b="1" dirty="0" smtClean="0">
                <a:solidFill>
                  <a:schemeClr val="bg1"/>
                </a:solidFill>
                <a:latin typeface="メイリオ" panose="020B0604030504040204" pitchFamily="50" charset="-128"/>
                <a:ea typeface="メイリオ" panose="020B0604030504040204" pitchFamily="50" charset="-128"/>
              </a:rPr>
              <a:t>の受取意向につ</a:t>
            </a:r>
            <a:r>
              <a:rPr kumimoji="1" lang="ja-JP" altLang="en-US" sz="1400" b="1" dirty="0">
                <a:solidFill>
                  <a:schemeClr val="bg1"/>
                </a:solidFill>
                <a:latin typeface="メイリオ" panose="020B0604030504040204" pitchFamily="50" charset="-128"/>
                <a:ea typeface="メイリオ" panose="020B0604030504040204" pitchFamily="50" charset="-128"/>
              </a:rPr>
              <a:t>いて</a:t>
            </a:r>
          </a:p>
        </p:txBody>
      </p:sp>
      <p:sp>
        <p:nvSpPr>
          <p:cNvPr id="66" name="テキスト ボックス 65"/>
          <p:cNvSpPr txBox="1"/>
          <p:nvPr/>
        </p:nvSpPr>
        <p:spPr>
          <a:xfrm>
            <a:off x="316437" y="4490151"/>
            <a:ext cx="6300000" cy="226591"/>
          </a:xfrm>
          <a:prstGeom prst="rect">
            <a:avLst/>
          </a:prstGeom>
          <a:noFill/>
        </p:spPr>
        <p:txBody>
          <a:bodyPr wrap="square" lIns="36000" tIns="36000" rIns="36000" bIns="36000" rtlCol="0" anchor="t" anchorCtr="0">
            <a:noAutofit/>
          </a:bodyPr>
          <a:lstStyle/>
          <a:p>
            <a:pPr>
              <a:spcBef>
                <a:spcPts val="0"/>
              </a:spcBef>
              <a:buSzPct val="100000"/>
              <a:tabLst>
                <a:tab pos="182563" algn="l"/>
              </a:tabLst>
            </a:pPr>
            <a:r>
              <a:rPr kumimoji="1" lang="ja-JP" altLang="en-US" sz="1100" dirty="0">
                <a:latin typeface="メイリオ" panose="020B0604030504040204" pitchFamily="50" charset="-128"/>
                <a:ea typeface="メイリオ" panose="020B0604030504040204" pitchFamily="50" charset="-128"/>
              </a:rPr>
              <a:t>◆</a:t>
            </a:r>
            <a:r>
              <a:rPr kumimoji="1" lang="en-US" altLang="ja-JP" sz="1100" dirty="0">
                <a:latin typeface="メイリオ" panose="020B0604030504040204" pitchFamily="50" charset="-128"/>
                <a:ea typeface="メイリオ" panose="020B0604030504040204" pitchFamily="50" charset="-128"/>
              </a:rPr>
              <a:t>	</a:t>
            </a:r>
            <a:r>
              <a:rPr kumimoji="1" lang="ja-JP" altLang="en-US" sz="1100" b="1" u="sng" dirty="0">
                <a:latin typeface="メイリオ" panose="020B0604030504040204" pitchFamily="50" charset="-128"/>
                <a:ea typeface="メイリオ" panose="020B0604030504040204" pitchFamily="50" charset="-128"/>
              </a:rPr>
              <a:t>イベントに参加されて</a:t>
            </a:r>
            <a:r>
              <a:rPr kumimoji="1" lang="ja-JP" altLang="en-US" sz="1100" dirty="0">
                <a:latin typeface="メイリオ" panose="020B0604030504040204" pitchFamily="50" charset="-128"/>
                <a:ea typeface="メイリオ" panose="020B0604030504040204" pitchFamily="50" charset="-128"/>
              </a:rPr>
              <a:t>、今後は宅配便を１回で受け取ろうと思いましたか（</a:t>
            </a:r>
            <a:r>
              <a:rPr kumimoji="1" lang="en-US" altLang="ja-JP" sz="1100" dirty="0">
                <a:latin typeface="メイリオ" panose="020B0604030504040204" pitchFamily="50" charset="-128"/>
                <a:ea typeface="メイリオ" panose="020B0604030504040204" pitchFamily="50" charset="-128"/>
              </a:rPr>
              <a:t>1</a:t>
            </a:r>
            <a:r>
              <a:rPr kumimoji="1" lang="ja-JP" altLang="en-US" sz="1100" dirty="0">
                <a:latin typeface="メイリオ" panose="020B0604030504040204" pitchFamily="50" charset="-128"/>
                <a:ea typeface="メイリオ" panose="020B0604030504040204" pitchFamily="50" charset="-128"/>
              </a:rPr>
              <a:t>つ回答）。</a:t>
            </a:r>
          </a:p>
        </p:txBody>
      </p:sp>
      <p:sp>
        <p:nvSpPr>
          <p:cNvPr id="68" name="テキスト ボックス 67"/>
          <p:cNvSpPr txBox="1"/>
          <p:nvPr/>
        </p:nvSpPr>
        <p:spPr>
          <a:xfrm>
            <a:off x="316436" y="4715481"/>
            <a:ext cx="6300000" cy="828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これ</a:t>
            </a:r>
            <a:r>
              <a:rPr kumimoji="1" lang="ja-JP" altLang="en-US" sz="900" dirty="0">
                <a:latin typeface="メイリオ" panose="020B0604030504040204" pitchFamily="50" charset="-128"/>
                <a:ea typeface="メイリオ" panose="020B0604030504040204" pitchFamily="50" charset="-128"/>
              </a:rPr>
              <a:t>までもほとんど１回で受け取っている</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これ</a:t>
            </a:r>
            <a:r>
              <a:rPr kumimoji="1" lang="ja-JP" altLang="en-US" sz="900" dirty="0">
                <a:latin typeface="メイリオ" panose="020B0604030504040204" pitchFamily="50" charset="-128"/>
                <a:ea typeface="メイリオ" panose="020B0604030504040204" pitchFamily="50" charset="-128"/>
              </a:rPr>
              <a:t>までもできるだけ１回で受け取りたいと思っており、今後はそのための対策も行おうと思う</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これ</a:t>
            </a:r>
            <a:r>
              <a:rPr kumimoji="1" lang="ja-JP" altLang="en-US" sz="900" dirty="0">
                <a:latin typeface="メイリオ" panose="020B0604030504040204" pitchFamily="50" charset="-128"/>
                <a:ea typeface="メイリオ" panose="020B0604030504040204" pitchFamily="50" charset="-128"/>
              </a:rPr>
              <a:t>までもできるだけ１回で受け取りたいと思っているが、特に対策は行わ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回</a:t>
            </a:r>
            <a:r>
              <a:rPr kumimoji="1" lang="ja-JP" altLang="en-US" sz="900" dirty="0">
                <a:latin typeface="メイリオ" panose="020B0604030504040204" pitchFamily="50" charset="-128"/>
                <a:ea typeface="メイリオ" panose="020B0604030504040204" pitchFamily="50" charset="-128"/>
              </a:rPr>
              <a:t>で受け取りたいと思うようになったので、今後はそのための対策を行おうと思う</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回</a:t>
            </a:r>
            <a:r>
              <a:rPr kumimoji="1" lang="ja-JP" altLang="en-US" sz="900" dirty="0">
                <a:latin typeface="メイリオ" panose="020B0604030504040204" pitchFamily="50" charset="-128"/>
                <a:ea typeface="メイリオ" panose="020B0604030504040204" pitchFamily="50" charset="-128"/>
              </a:rPr>
              <a:t>で受け取りたいと思うようになったが、特に対策は行わ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回</a:t>
            </a:r>
            <a:r>
              <a:rPr kumimoji="1" lang="ja-JP" altLang="en-US" sz="900" dirty="0">
                <a:latin typeface="メイリオ" panose="020B0604030504040204" pitchFamily="50" charset="-128"/>
                <a:ea typeface="メイリオ" panose="020B0604030504040204" pitchFamily="50" charset="-128"/>
              </a:rPr>
              <a:t>で受け取りたいと思うようになったが、どうしたら受け取れるのかわから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特</a:t>
            </a:r>
            <a:r>
              <a:rPr kumimoji="1" lang="ja-JP" altLang="en-US" sz="900" dirty="0">
                <a:latin typeface="メイリオ" panose="020B0604030504040204" pitchFamily="50" charset="-128"/>
                <a:ea typeface="メイリオ" panose="020B0604030504040204" pitchFamily="50" charset="-128"/>
              </a:rPr>
              <a:t>に１回で受け取りたいと</a:t>
            </a:r>
            <a:r>
              <a:rPr kumimoji="1" lang="ja-JP" altLang="en-US" sz="900" dirty="0" smtClean="0">
                <a:latin typeface="メイリオ" panose="020B0604030504040204" pitchFamily="50" charset="-128"/>
                <a:ea typeface="メイリオ" panose="020B0604030504040204" pitchFamily="50" charset="-128"/>
              </a:rPr>
              <a:t>思わない（</a:t>
            </a:r>
            <a:r>
              <a:rPr kumimoji="1" lang="en-US" altLang="ja-JP" sz="900" dirty="0" smtClean="0">
                <a:latin typeface="メイリオ" panose="020B0604030504040204" pitchFamily="50" charset="-128"/>
                <a:ea typeface="メイリオ" panose="020B0604030504040204" pitchFamily="50" charset="-128"/>
              </a:rPr>
              <a:t>Q6</a:t>
            </a:r>
            <a:r>
              <a:rPr kumimoji="1" lang="ja-JP" altLang="en-US" sz="900" dirty="0" smtClean="0">
                <a:latin typeface="メイリオ" panose="020B0604030504040204" pitchFamily="50" charset="-128"/>
                <a:ea typeface="メイリオ" panose="020B0604030504040204" pitchFamily="50" charset="-128"/>
              </a:rPr>
              <a:t>へ）</a:t>
            </a:r>
          </a:p>
        </p:txBody>
      </p:sp>
      <p:grpSp>
        <p:nvGrpSpPr>
          <p:cNvPr id="6" name="グループ化 5"/>
          <p:cNvGrpSpPr/>
          <p:nvPr/>
        </p:nvGrpSpPr>
        <p:grpSpPr>
          <a:xfrm>
            <a:off x="1288256" y="81035"/>
            <a:ext cx="5282407" cy="837910"/>
            <a:chOff x="1288256" y="81035"/>
            <a:chExt cx="5282407" cy="837910"/>
          </a:xfrm>
        </p:grpSpPr>
        <p:sp>
          <p:nvSpPr>
            <p:cNvPr id="74" name="正方形/長方形 73"/>
            <p:cNvSpPr/>
            <p:nvPr/>
          </p:nvSpPr>
          <p:spPr bwMode="gray">
            <a:xfrm>
              <a:off x="1854059" y="339583"/>
              <a:ext cx="4150800" cy="388620"/>
            </a:xfrm>
            <a:prstGeom prst="rect">
              <a:avLst/>
            </a:prstGeom>
            <a:no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2000" b="1" dirty="0">
                  <a:solidFill>
                    <a:srgbClr val="1C94D3"/>
                  </a:solidFill>
                  <a:latin typeface="メイリオ" panose="020B0604030504040204" pitchFamily="50" charset="-128"/>
                  <a:ea typeface="メイリオ" panose="020B0604030504040204" pitchFamily="50" charset="-128"/>
                </a:rPr>
                <a:t>宅配便</a:t>
              </a:r>
              <a:r>
                <a:rPr kumimoji="1" lang="ja-JP" altLang="en-US" sz="2000" b="1" dirty="0" smtClean="0">
                  <a:solidFill>
                    <a:srgbClr val="1C94D3"/>
                  </a:solidFill>
                  <a:latin typeface="メイリオ" panose="020B0604030504040204" pitchFamily="50" charset="-128"/>
                  <a:ea typeface="メイリオ" panose="020B0604030504040204" pitchFamily="50" charset="-128"/>
                </a:rPr>
                <a:t>の利用実態アンケート</a:t>
              </a:r>
              <a:endParaRPr kumimoji="1" lang="ja-JP" altLang="en-US" sz="2000" b="1" dirty="0">
                <a:solidFill>
                  <a:srgbClr val="1C94D3"/>
                </a:solidFill>
                <a:latin typeface="メイリオ" panose="020B0604030504040204" pitchFamily="50" charset="-128"/>
                <a:ea typeface="メイリオ" panose="020B0604030504040204" pitchFamily="50" charset="-128"/>
              </a:endParaRPr>
            </a:p>
          </p:txBody>
        </p:sp>
        <p:sp>
          <p:nvSpPr>
            <p:cNvPr id="76" name="テキスト ボックス 75"/>
            <p:cNvSpPr txBox="1"/>
            <p:nvPr/>
          </p:nvSpPr>
          <p:spPr>
            <a:xfrm>
              <a:off x="1288256" y="81035"/>
              <a:ext cx="5282407" cy="195814"/>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800" dirty="0" smtClean="0">
                  <a:latin typeface="メイリオ" panose="020B0604030504040204" pitchFamily="50" charset="-128"/>
                  <a:ea typeface="メイリオ" panose="020B0604030504040204" pitchFamily="50" charset="-128"/>
                </a:rPr>
                <a:t>本アンケートは</a:t>
              </a:r>
              <a:r>
                <a:rPr kumimoji="1" lang="ja-JP" altLang="en-US" sz="800" dirty="0">
                  <a:latin typeface="メイリオ" panose="020B0604030504040204" pitchFamily="50" charset="-128"/>
                  <a:ea typeface="メイリオ" panose="020B0604030504040204" pitchFamily="50" charset="-128"/>
                </a:rPr>
                <a:t>、環境省「地域における地球温暖化防止活動</a:t>
              </a:r>
              <a:r>
                <a:rPr kumimoji="1" lang="en-US" altLang="ja-JP" sz="800" dirty="0">
                  <a:latin typeface="メイリオ" panose="020B0604030504040204" pitchFamily="50" charset="-128"/>
                  <a:ea typeface="メイリオ" panose="020B0604030504040204" pitchFamily="50" charset="-128"/>
                </a:rPr>
                <a:t>PDCA</a:t>
              </a:r>
              <a:r>
                <a:rPr kumimoji="1" lang="ja-JP" altLang="en-US" sz="800" dirty="0">
                  <a:latin typeface="メイリオ" panose="020B0604030504040204" pitchFamily="50" charset="-128"/>
                  <a:ea typeface="メイリオ" panose="020B0604030504040204" pitchFamily="50" charset="-128"/>
                </a:rPr>
                <a:t>サイクル推進事業委託業務」の一環</a:t>
              </a:r>
              <a:r>
                <a:rPr kumimoji="1" lang="ja-JP" altLang="en-US" sz="800" dirty="0" smtClean="0">
                  <a:latin typeface="メイリオ" panose="020B0604030504040204" pitchFamily="50" charset="-128"/>
                  <a:ea typeface="メイリオ" panose="020B0604030504040204" pitchFamily="50" charset="-128"/>
                </a:rPr>
                <a:t>で実施しています</a:t>
              </a:r>
              <a:r>
                <a:rPr kumimoji="1" lang="ja-JP" altLang="en-US" sz="800" dirty="0">
                  <a:latin typeface="メイリオ" panose="020B0604030504040204" pitchFamily="50" charset="-128"/>
                  <a:ea typeface="メイリオ" panose="020B0604030504040204" pitchFamily="50" charset="-128"/>
                </a:rPr>
                <a:t>。</a:t>
              </a:r>
              <a:endParaRPr kumimoji="1" lang="ja-JP" altLang="en-US" sz="800" dirty="0" smtClean="0">
                <a:latin typeface="メイリオ" panose="020B0604030504040204" pitchFamily="50" charset="-128"/>
                <a:ea typeface="メイリオ" panose="020B0604030504040204" pitchFamily="50" charset="-128"/>
              </a:endParaRPr>
            </a:p>
          </p:txBody>
        </p:sp>
        <p:sp>
          <p:nvSpPr>
            <p:cNvPr id="80" name="テキスト ボックス 79"/>
            <p:cNvSpPr txBox="1"/>
            <p:nvPr/>
          </p:nvSpPr>
          <p:spPr>
            <a:xfrm>
              <a:off x="1854059" y="692354"/>
              <a:ext cx="4150800" cy="226591"/>
            </a:xfrm>
            <a:prstGeom prst="rect">
              <a:avLst/>
            </a:prstGeom>
            <a:noFill/>
          </p:spPr>
          <p:txBody>
            <a:bodyPr wrap="square" lIns="36000" tIns="36000" rIns="36000" bIns="36000" rtlCol="0" anchor="ctr" anchorCtr="0">
              <a:noAutofit/>
            </a:bodyPr>
            <a:lstStyle/>
            <a:p>
              <a:pPr>
                <a:spcBef>
                  <a:spcPts val="0"/>
                </a:spcBef>
                <a:buSzPct val="100000"/>
              </a:pPr>
              <a:r>
                <a:rPr kumimoji="1" lang="ja-JP" altLang="en-US" sz="1000" dirty="0" smtClean="0">
                  <a:latin typeface="メイリオ" panose="020B0604030504040204" pitchFamily="50" charset="-128"/>
                  <a:ea typeface="メイリオ" panose="020B0604030504040204" pitchFamily="50" charset="-128"/>
                </a:rPr>
                <a:t>宅配便の利用状況を調査しています。わかる範囲でお答えください。</a:t>
              </a:r>
            </a:p>
          </p:txBody>
        </p:sp>
      </p:grpSp>
      <p:sp>
        <p:nvSpPr>
          <p:cNvPr id="99" name="テキスト ボックス 98"/>
          <p:cNvSpPr txBox="1"/>
          <p:nvPr/>
        </p:nvSpPr>
        <p:spPr>
          <a:xfrm>
            <a:off x="279000" y="1234047"/>
            <a:ext cx="6300000" cy="401618"/>
          </a:xfrm>
          <a:prstGeom prst="rect">
            <a:avLst/>
          </a:prstGeom>
          <a:noFill/>
        </p:spPr>
        <p:txBody>
          <a:bodyPr wrap="square" lIns="36000" tIns="36000" rIns="36000" bIns="36000" rtlCol="0" anchor="t" anchorCtr="0">
            <a:noAutofit/>
          </a:bodyPr>
          <a:lstStyle/>
          <a:p>
            <a:pPr>
              <a:spcBef>
                <a:spcPts val="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性別　</a:t>
            </a: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男性　□ 女性　□ その他</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tabLst>
                <a:tab pos="450850" algn="l"/>
              </a:tabLst>
            </a:pPr>
            <a:r>
              <a:rPr kumimoji="1" lang="ja-JP" altLang="en-US" sz="900" dirty="0" smtClean="0">
                <a:latin typeface="メイリオ" panose="020B0604030504040204" pitchFamily="50" charset="-128"/>
                <a:ea typeface="メイリオ" panose="020B0604030504040204" pitchFamily="50" charset="-128"/>
              </a:rPr>
              <a:t>年齢　</a:t>
            </a:r>
            <a:r>
              <a:rPr kumimoji="1" lang="en-US" altLang="ja-JP" sz="900" dirty="0" smtClean="0">
                <a:latin typeface="メイリオ" panose="020B0604030504040204" pitchFamily="50" charset="-128"/>
                <a:ea typeface="メイリオ" panose="020B0604030504040204" pitchFamily="50" charset="-128"/>
              </a:rPr>
              <a:t>	</a:t>
            </a:r>
            <a:r>
              <a:rPr kumimoji="1" lang="ja-JP" altLang="en-US" sz="900" dirty="0" smtClean="0">
                <a:latin typeface="メイリオ" panose="020B0604030504040204" pitchFamily="50" charset="-128"/>
                <a:ea typeface="メイリオ" panose="020B0604030504040204" pitchFamily="50" charset="-128"/>
              </a:rPr>
              <a:t>□ </a:t>
            </a:r>
            <a:r>
              <a:rPr kumimoji="1" lang="en-US" altLang="ja-JP" sz="900" dirty="0" smtClean="0">
                <a:latin typeface="メイリオ" panose="020B0604030504040204" pitchFamily="50" charset="-128"/>
                <a:ea typeface="メイリオ" panose="020B0604030504040204" pitchFamily="50" charset="-128"/>
              </a:rPr>
              <a:t>10</a:t>
            </a:r>
            <a:r>
              <a:rPr kumimoji="1" lang="ja-JP" altLang="en-US" sz="900" dirty="0" smtClean="0">
                <a:latin typeface="メイリオ" panose="020B0604030504040204" pitchFamily="50" charset="-128"/>
                <a:ea typeface="メイリオ" panose="020B0604030504040204" pitchFamily="50" charset="-128"/>
              </a:rPr>
              <a:t>代以下　□ </a:t>
            </a:r>
            <a:r>
              <a:rPr kumimoji="1" lang="en-US" altLang="ja-JP" sz="900" dirty="0" smtClean="0">
                <a:latin typeface="メイリオ" panose="020B0604030504040204" pitchFamily="50" charset="-128"/>
                <a:ea typeface="メイリオ" panose="020B0604030504040204" pitchFamily="50" charset="-128"/>
              </a:rPr>
              <a:t>2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3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4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5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60</a:t>
            </a:r>
            <a:r>
              <a:rPr kumimoji="1" lang="ja-JP" altLang="en-US" sz="900" dirty="0" smtClean="0">
                <a:latin typeface="メイリオ" panose="020B0604030504040204" pitchFamily="50" charset="-128"/>
                <a:ea typeface="メイリオ" panose="020B0604030504040204" pitchFamily="50" charset="-128"/>
              </a:rPr>
              <a:t>代　□ </a:t>
            </a:r>
            <a:r>
              <a:rPr kumimoji="1" lang="en-US" altLang="ja-JP" sz="900" dirty="0" smtClean="0">
                <a:latin typeface="メイリオ" panose="020B0604030504040204" pitchFamily="50" charset="-128"/>
                <a:ea typeface="メイリオ" panose="020B0604030504040204" pitchFamily="50" charset="-128"/>
              </a:rPr>
              <a:t>70</a:t>
            </a:r>
            <a:r>
              <a:rPr kumimoji="1" lang="ja-JP" altLang="en-US" sz="900" dirty="0" smtClean="0">
                <a:latin typeface="メイリオ" panose="020B0604030504040204" pitchFamily="50" charset="-128"/>
                <a:ea typeface="メイリオ" panose="020B0604030504040204" pitchFamily="50" charset="-128"/>
              </a:rPr>
              <a:t>代以上</a:t>
            </a:r>
            <a:endParaRPr kumimoji="1" lang="en-US" altLang="ja-JP" sz="900" dirty="0" smtClean="0">
              <a:latin typeface="メイリオ" panose="020B0604030504040204" pitchFamily="50" charset="-128"/>
              <a:ea typeface="メイリオ" panose="020B0604030504040204" pitchFamily="50" charset="-128"/>
            </a:endParaRPr>
          </a:p>
        </p:txBody>
      </p:sp>
      <p:sp>
        <p:nvSpPr>
          <p:cNvPr id="59" name="テキスト ボックス 58"/>
          <p:cNvSpPr txBox="1"/>
          <p:nvPr/>
        </p:nvSpPr>
        <p:spPr>
          <a:xfrm>
            <a:off x="279000" y="2350910"/>
            <a:ext cx="3024000" cy="68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毎日</a:t>
            </a:r>
            <a:r>
              <a:rPr kumimoji="1" lang="ja-JP" altLang="en-US" sz="900" dirty="0">
                <a:latin typeface="メイリオ" panose="020B0604030504040204" pitchFamily="50" charset="-128"/>
                <a:ea typeface="メイリオ" panose="020B0604030504040204" pitchFamily="50" charset="-128"/>
              </a:rPr>
              <a:t>１個程度	</a:t>
            </a:r>
            <a:endParaRPr kumimoji="1" lang="ja-JP" altLang="en-US"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週に４～６ 個程度	</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週</a:t>
            </a:r>
            <a:r>
              <a:rPr kumimoji="1" lang="ja-JP" altLang="en-US" sz="900" dirty="0">
                <a:latin typeface="メイリオ" panose="020B0604030504040204" pitchFamily="50" charset="-128"/>
                <a:ea typeface="メイリオ" panose="020B0604030504040204" pitchFamily="50" charset="-128"/>
              </a:rPr>
              <a:t>に１～３個程度	</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１か月</a:t>
            </a:r>
            <a:r>
              <a:rPr kumimoji="1" lang="ja-JP" altLang="en-US" sz="900" dirty="0">
                <a:latin typeface="メイリオ" panose="020B0604030504040204" pitchFamily="50" charset="-128"/>
                <a:ea typeface="メイリオ" panose="020B0604030504040204" pitchFamily="50" charset="-128"/>
              </a:rPr>
              <a:t>に１～３個</a:t>
            </a:r>
            <a:r>
              <a:rPr kumimoji="1" lang="ja-JP" altLang="en-US" sz="900" dirty="0" smtClean="0">
                <a:latin typeface="メイリオ" panose="020B0604030504040204" pitchFamily="50" charset="-128"/>
                <a:ea typeface="メイリオ" panose="020B0604030504040204" pitchFamily="50" charset="-128"/>
              </a:rPr>
              <a:t>程度</a:t>
            </a:r>
            <a:endParaRPr kumimoji="1" lang="en-US" altLang="ja-JP" sz="900" dirty="0" smtClean="0">
              <a:latin typeface="メイリオ" panose="020B0604030504040204" pitchFamily="50" charset="-128"/>
              <a:ea typeface="メイリオ" panose="020B0604030504040204" pitchFamily="50" charset="-128"/>
            </a:endParaRPr>
          </a:p>
        </p:txBody>
      </p:sp>
      <p:sp>
        <p:nvSpPr>
          <p:cNvPr id="103" name="テキスト ボックス 102"/>
          <p:cNvSpPr txBox="1"/>
          <p:nvPr/>
        </p:nvSpPr>
        <p:spPr>
          <a:xfrm>
            <a:off x="3467913" y="2350910"/>
            <a:ext cx="3024000" cy="68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２</a:t>
            </a:r>
            <a:r>
              <a:rPr kumimoji="1" lang="ja-JP" altLang="en-US" sz="900" dirty="0">
                <a:latin typeface="メイリオ" panose="020B0604030504040204" pitchFamily="50" charset="-128"/>
                <a:ea typeface="メイリオ" panose="020B0604030504040204" pitchFamily="50" charset="-128"/>
              </a:rPr>
              <a:t>～３か月に１個</a:t>
            </a:r>
            <a:r>
              <a:rPr kumimoji="1" lang="ja-JP" altLang="en-US" sz="900" dirty="0" smtClean="0">
                <a:latin typeface="メイリオ" panose="020B0604030504040204" pitchFamily="50" charset="-128"/>
                <a:ea typeface="メイリオ" panose="020B0604030504040204" pitchFamily="50" charset="-128"/>
              </a:rPr>
              <a:t>程度</a:t>
            </a:r>
            <a:endParaRPr kumimoji="1" lang="en-US" altLang="ja-JP" sz="900" dirty="0" smtClean="0">
              <a:latin typeface="メイリオ" panose="020B0604030504040204" pitchFamily="50" charset="-128"/>
              <a:ea typeface="メイリオ" panose="020B0604030504040204" pitchFamily="50" charset="-128"/>
            </a:endParaRP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半年に１個程度  </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上記以下の頻度</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ほとんど</a:t>
            </a:r>
            <a:r>
              <a:rPr kumimoji="1" lang="ja-JP" altLang="en-US" sz="900" dirty="0">
                <a:latin typeface="メイリオ" panose="020B0604030504040204" pitchFamily="50" charset="-128"/>
                <a:ea typeface="メイリオ" panose="020B0604030504040204" pitchFamily="50" charset="-128"/>
              </a:rPr>
              <a:t>利用</a:t>
            </a:r>
            <a:r>
              <a:rPr kumimoji="1" lang="ja-JP" altLang="en-US" sz="900" dirty="0" smtClean="0">
                <a:latin typeface="メイリオ" panose="020B0604030504040204" pitchFamily="50" charset="-128"/>
                <a:ea typeface="メイリオ" panose="020B0604030504040204" pitchFamily="50" charset="-128"/>
              </a:rPr>
              <a:t>しない　➡アンケート終了です。</a:t>
            </a:r>
          </a:p>
        </p:txBody>
      </p:sp>
      <p:sp>
        <p:nvSpPr>
          <p:cNvPr id="65" name="テキスト ボックス 64"/>
          <p:cNvSpPr txBox="1"/>
          <p:nvPr/>
        </p:nvSpPr>
        <p:spPr>
          <a:xfrm>
            <a:off x="3467913" y="3665159"/>
            <a:ext cx="3303000" cy="864000"/>
          </a:xfrm>
          <a:prstGeom prst="rect">
            <a:avLst/>
          </a:prstGeom>
          <a:noFill/>
        </p:spPr>
        <p:txBody>
          <a:bodyPr wrap="square" lIns="36000" tIns="36000" rIns="36000" bIns="36000" rtlCol="0" anchor="t" anchorCtr="0">
            <a:noAutofit/>
          </a:bodyPr>
          <a:lstStyle/>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ほとんど</a:t>
            </a:r>
            <a:r>
              <a:rPr kumimoji="1" lang="ja-JP" altLang="en-US" sz="900" dirty="0">
                <a:latin typeface="メイリオ" panose="020B0604030504040204" pitchFamily="50" charset="-128"/>
                <a:ea typeface="メイリオ" panose="020B0604030504040204" pitchFamily="50" charset="-128"/>
              </a:rPr>
              <a:t>再配達をお願いしたことはない（１～２割）</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再配達</a:t>
            </a:r>
            <a:r>
              <a:rPr kumimoji="1" lang="ja-JP" altLang="en-US" sz="900" dirty="0">
                <a:latin typeface="メイリオ" panose="020B0604030504040204" pitchFamily="50" charset="-128"/>
                <a:ea typeface="メイリオ" panose="020B0604030504040204" pitchFamily="50" charset="-128"/>
              </a:rPr>
              <a:t>をお願いしたことはない</a:t>
            </a:r>
          </a:p>
          <a:p>
            <a:pPr>
              <a:spcBef>
                <a:spcPts val="0"/>
              </a:spcBef>
              <a:buSzPct val="100000"/>
            </a:pPr>
            <a:r>
              <a:rPr kumimoji="1" lang="ja-JP" altLang="en-US" sz="900" dirty="0" smtClean="0">
                <a:latin typeface="メイリオ" panose="020B0604030504040204" pitchFamily="50" charset="-128"/>
                <a:ea typeface="メイリオ" panose="020B0604030504040204" pitchFamily="50" charset="-128"/>
              </a:rPr>
              <a:t>□ 宅配便</a:t>
            </a:r>
            <a:r>
              <a:rPr kumimoji="1" lang="ja-JP" altLang="en-US" sz="900" dirty="0">
                <a:latin typeface="メイリオ" panose="020B0604030504040204" pitchFamily="50" charset="-128"/>
                <a:ea typeface="メイリオ" panose="020B0604030504040204" pitchFamily="50" charset="-128"/>
              </a:rPr>
              <a:t>の荷物を受け取って</a:t>
            </a:r>
            <a:r>
              <a:rPr kumimoji="1" lang="ja-JP" altLang="en-US" sz="900" dirty="0" smtClean="0">
                <a:latin typeface="メイリオ" panose="020B0604030504040204" pitchFamily="50" charset="-128"/>
                <a:ea typeface="メイリオ" panose="020B0604030504040204" pitchFamily="50" charset="-128"/>
              </a:rPr>
              <a:t>いない　➡アンケート終了です。</a:t>
            </a:r>
          </a:p>
        </p:txBody>
      </p:sp>
      <p:grpSp>
        <p:nvGrpSpPr>
          <p:cNvPr id="67" name="グループ化 66"/>
          <p:cNvGrpSpPr/>
          <p:nvPr/>
        </p:nvGrpSpPr>
        <p:grpSpPr>
          <a:xfrm>
            <a:off x="279000" y="8831721"/>
            <a:ext cx="6300000" cy="956350"/>
            <a:chOff x="279000" y="8831721"/>
            <a:chExt cx="6300000" cy="956350"/>
          </a:xfrm>
        </p:grpSpPr>
        <p:sp>
          <p:nvSpPr>
            <p:cNvPr id="70" name="正方形/長方形 69"/>
            <p:cNvSpPr/>
            <p:nvPr/>
          </p:nvSpPr>
          <p:spPr bwMode="gray">
            <a:xfrm>
              <a:off x="298913" y="8831721"/>
              <a:ext cx="6271750" cy="711361"/>
            </a:xfrm>
            <a:prstGeom prst="rect">
              <a:avLst/>
            </a:prstGeom>
            <a:solidFill>
              <a:schemeClr val="bg1">
                <a:lumMod val="85000"/>
              </a:schemeClr>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buFont typeface="Wingdings 2" pitchFamily="18" charset="2"/>
                <a:buNone/>
                <a:tabLst>
                  <a:tab pos="144000" algn="l"/>
                </a:tabLst>
              </a:pPr>
              <a:r>
                <a:rPr kumimoji="1" lang="en-US" altLang="ja-JP" sz="600" dirty="0" smtClean="0">
                  <a:ea typeface="メイリオ" panose="020B0604030504040204" pitchFamily="50" charset="-128"/>
                </a:rPr>
                <a:t>*1: 	</a:t>
              </a:r>
              <a:r>
                <a:rPr kumimoji="1" lang="ja-JP" altLang="en-US" sz="600" dirty="0" smtClean="0">
                  <a:ea typeface="メイリオ" panose="020B0604030504040204" pitchFamily="50" charset="-128"/>
                </a:rPr>
                <a:t>地球</a:t>
              </a:r>
              <a:r>
                <a:rPr kumimoji="1" lang="ja-JP" altLang="en-US" sz="600" dirty="0">
                  <a:ea typeface="メイリオ" panose="020B0604030504040204" pitchFamily="50" charset="-128"/>
                </a:rPr>
                <a:t>温暖化防止にかかる普及啓発活動の改善のため、後日、簡単な</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を実施する予定です。ご理解・ご協力を</a:t>
              </a:r>
              <a:r>
                <a:rPr kumimoji="1" lang="ja-JP" altLang="en-US" sz="600" dirty="0" smtClean="0">
                  <a:ea typeface="メイリオ" panose="020B0604030504040204" pitchFamily="50" charset="-128"/>
                </a:rPr>
                <a:t>いただけます場合</a:t>
              </a:r>
              <a:r>
                <a:rPr kumimoji="1" lang="ja-JP" altLang="en-US" sz="600" dirty="0">
                  <a:ea typeface="メイリオ" panose="020B0604030504040204" pitchFamily="50" charset="-128"/>
                </a:rPr>
                <a:t>には、アンケートをお送り</a:t>
              </a:r>
              <a:r>
                <a:rPr kumimoji="1" lang="ja-JP" altLang="en-US" sz="600" dirty="0" smtClean="0">
                  <a:ea typeface="メイリオ" panose="020B0604030504040204" pitchFamily="50" charset="-128"/>
                </a:rPr>
                <a:t>する</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メールアドレス</a:t>
              </a:r>
              <a:r>
                <a:rPr kumimoji="1" lang="ja-JP" altLang="en-US" sz="600" dirty="0">
                  <a:ea typeface="メイリオ" panose="020B0604030504040204" pitchFamily="50" charset="-128"/>
                </a:rPr>
                <a:t>を上の欄にご記入ください。本</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は、環境省事業の一環として</a:t>
              </a:r>
              <a:r>
                <a:rPr kumimoji="1" lang="ja-JP" altLang="en-US" sz="600" dirty="0" smtClean="0">
                  <a:ea typeface="メイリオ" panose="020B0604030504040204" pitchFamily="50" charset="-128"/>
                </a:rPr>
                <a:t>、「地域</a:t>
              </a:r>
              <a:r>
                <a:rPr kumimoji="1" lang="ja-JP" altLang="en-US" sz="600" dirty="0">
                  <a:ea typeface="メイリオ" panose="020B0604030504040204" pitchFamily="50" charset="-128"/>
                </a:rPr>
                <a:t>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受託者</a:t>
              </a:r>
              <a:r>
                <a:rPr kumimoji="1" lang="ja-JP" altLang="en-US" sz="600" dirty="0" smtClean="0">
                  <a:ea typeface="メイリオ" panose="020B0604030504040204" pitchFamily="50" charset="-128"/>
                </a:rPr>
                <a:t>が</a:t>
              </a:r>
              <a:r>
                <a:rPr kumimoji="1" lang="en-US" altLang="ja-JP" sz="600" dirty="0" smtClean="0">
                  <a:ea typeface="メイリオ" panose="020B0604030504040204" pitchFamily="50" charset="-128"/>
                </a:rPr>
                <a:t/>
              </a:r>
              <a:br>
                <a:rPr kumimoji="1" lang="en-US" altLang="ja-JP" sz="600" dirty="0" smtClean="0">
                  <a:ea typeface="メイリオ" panose="020B0604030504040204" pitchFamily="50" charset="-128"/>
                </a:rPr>
              </a:br>
              <a:r>
                <a:rPr kumimoji="1" lang="en-US" altLang="ja-JP" sz="600" dirty="0" smtClean="0">
                  <a:ea typeface="メイリオ" panose="020B0604030504040204" pitchFamily="50" charset="-128"/>
                </a:rPr>
                <a:t>	</a:t>
              </a:r>
              <a:r>
                <a:rPr kumimoji="1" lang="ja-JP" altLang="en-US" sz="600" dirty="0" smtClean="0">
                  <a:ea typeface="メイリオ" panose="020B0604030504040204" pitchFamily="50" charset="-128"/>
                </a:rPr>
                <a:t>実施</a:t>
              </a:r>
              <a:r>
                <a:rPr kumimoji="1" lang="ja-JP" altLang="en-US" sz="600" dirty="0">
                  <a:ea typeface="メイリオ" panose="020B0604030504040204" pitchFamily="50" charset="-128"/>
                </a:rPr>
                <a:t>します</a:t>
              </a:r>
              <a:r>
                <a:rPr kumimoji="1" lang="ja-JP" altLang="en-US" sz="600" dirty="0" smtClean="0">
                  <a:ea typeface="メイリオ" panose="020B0604030504040204" pitchFamily="50" charset="-128"/>
                </a:rPr>
                <a:t>。</a:t>
              </a:r>
              <a:endParaRPr kumimoji="1" lang="en-US" altLang="ja-JP" sz="600" dirty="0" smtClean="0">
                <a:ea typeface="メイリオ" panose="020B0604030504040204" pitchFamily="50" charset="-128"/>
              </a:endParaRPr>
            </a:p>
            <a:p>
              <a:pPr>
                <a:spcBef>
                  <a:spcPts val="300"/>
                </a:spcBef>
                <a:buFont typeface="Wingdings 2" pitchFamily="18" charset="2"/>
                <a:buNone/>
                <a:tabLst>
                  <a:tab pos="144000" algn="l"/>
                </a:tabLst>
              </a:pPr>
              <a:r>
                <a:rPr kumimoji="1" lang="ja-JP" altLang="en-US" sz="600" dirty="0" smtClean="0">
                  <a:ea typeface="メイリオ" panose="020B0604030504040204" pitchFamily="50" charset="-128"/>
                </a:rPr>
                <a:t>〇迷惑</a:t>
              </a:r>
              <a:r>
                <a:rPr kumimoji="1" lang="ja-JP" altLang="en-US" sz="600" dirty="0">
                  <a:ea typeface="メイリオ" panose="020B0604030504040204" pitchFamily="50" charset="-128"/>
                </a:rPr>
                <a:t>メール防止機能により、</a:t>
              </a:r>
              <a:r>
                <a:rPr kumimoji="1" lang="en-US" altLang="ja-JP" sz="600" dirty="0">
                  <a:ea typeface="メイリオ" panose="020B0604030504040204" pitchFamily="50" charset="-128"/>
                </a:rPr>
                <a:t>WEB</a:t>
              </a:r>
              <a:r>
                <a:rPr kumimoji="1" lang="ja-JP" altLang="en-US" sz="600" dirty="0">
                  <a:ea typeface="メイリオ" panose="020B0604030504040204" pitchFamily="50" charset="-128"/>
                </a:rPr>
                <a:t>アンケートメールが 迷惑メールフォルダやゴミ箱に自動的に振り分けられている可能性があります。一度ご確認頂きますよう</a:t>
              </a:r>
              <a:r>
                <a:rPr kumimoji="1" lang="ja-JP" altLang="en-US" sz="600" dirty="0" smtClean="0">
                  <a:ea typeface="メイリオ" panose="020B0604030504040204" pitchFamily="50" charset="-128"/>
                </a:rPr>
                <a:t>お願いいたします</a:t>
              </a:r>
              <a:r>
                <a:rPr kumimoji="1" lang="ja-JP" altLang="en-US" sz="600" dirty="0">
                  <a:ea typeface="メイリオ" panose="020B0604030504040204" pitchFamily="50" charset="-128"/>
                </a:rPr>
                <a:t>。</a:t>
              </a:r>
            </a:p>
            <a:p>
              <a:pPr indent="75600">
                <a:spcBef>
                  <a:spcPts val="300"/>
                </a:spcBef>
                <a:buFont typeface="Wingdings 2" pitchFamily="18" charset="2"/>
                <a:buNone/>
              </a:pPr>
              <a:r>
                <a:rPr kumimoji="1" lang="ja-JP" altLang="en-US" sz="600" dirty="0" smtClean="0">
                  <a:ea typeface="メイリオ" panose="020B0604030504040204" pitchFamily="50" charset="-128"/>
                </a:rPr>
                <a:t>ご記入</a:t>
              </a:r>
              <a:r>
                <a:rPr kumimoji="1" lang="ja-JP" altLang="en-US" sz="600" dirty="0">
                  <a:ea typeface="メイリオ" panose="020B0604030504040204" pitchFamily="50" charset="-128"/>
                </a:rPr>
                <a:t>いただいたメールアドレス等の個人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地域における地球温暖化防止活動</a:t>
              </a:r>
              <a:r>
                <a:rPr kumimoji="1" lang="en-US" altLang="ja-JP" sz="600" dirty="0">
                  <a:ea typeface="メイリオ" panose="020B0604030504040204" pitchFamily="50" charset="-128"/>
                </a:rPr>
                <a:t>PDCA</a:t>
              </a:r>
              <a:r>
                <a:rPr kumimoji="1" lang="ja-JP" altLang="en-US" sz="600" dirty="0">
                  <a:ea typeface="メイリオ" panose="020B0604030504040204" pitchFamily="50" charset="-128"/>
                </a:rPr>
                <a:t>サイクル推進事業委託業務」において統計･分析処理され</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別の内容が公表等されることはありません。また</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個人情報に該当する情報は</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当該業務遂行の目的のみのために利用し</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委託元である環境省</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受託者以外の第三者に開示せず</a:t>
              </a:r>
              <a:r>
                <a:rPr kumimoji="1" lang="en-US" altLang="ja-JP" sz="600" dirty="0">
                  <a:ea typeface="メイリオ" panose="020B0604030504040204" pitchFamily="50" charset="-128"/>
                </a:rPr>
                <a:t>､</a:t>
              </a:r>
              <a:r>
                <a:rPr kumimoji="1" lang="ja-JP" altLang="en-US" sz="600" dirty="0">
                  <a:ea typeface="メイリオ" panose="020B0604030504040204" pitchFamily="50" charset="-128"/>
                </a:rPr>
                <a:t>厳重に管理します。</a:t>
              </a:r>
              <a:endParaRPr kumimoji="1" lang="en-US" altLang="ja-JP" sz="600" dirty="0" smtClean="0">
                <a:ea typeface="メイリオ" panose="020B0604030504040204" pitchFamily="50" charset="-128"/>
              </a:endParaRPr>
            </a:p>
          </p:txBody>
        </p:sp>
        <p:sp>
          <p:nvSpPr>
            <p:cNvPr id="73" name="テキスト ボックス 72"/>
            <p:cNvSpPr txBox="1"/>
            <p:nvPr/>
          </p:nvSpPr>
          <p:spPr>
            <a:xfrm>
              <a:off x="279000" y="9608071"/>
              <a:ext cx="6300000" cy="180000"/>
            </a:xfrm>
            <a:prstGeom prst="rect">
              <a:avLst/>
            </a:prstGeom>
            <a:noFill/>
          </p:spPr>
          <p:txBody>
            <a:bodyPr wrap="square" lIns="36000" tIns="36000" rIns="36000" bIns="36000" rtlCol="0" anchor="t" anchorCtr="0">
              <a:noAutofit/>
            </a:bodyPr>
            <a:lstStyle/>
            <a:p>
              <a:pPr algn="ctr">
                <a:spcBef>
                  <a:spcPts val="0"/>
                </a:spcBef>
                <a:buSzPct val="100000"/>
              </a:pPr>
              <a:r>
                <a:rPr kumimoji="1" lang="ja-JP" altLang="en-US" sz="1000" dirty="0">
                  <a:latin typeface="メイリオ" panose="020B0604030504040204" pitchFamily="50" charset="-128"/>
                  <a:ea typeface="メイリオ" panose="020B0604030504040204" pitchFamily="50" charset="-128"/>
                </a:rPr>
                <a:t>環境省</a:t>
              </a:r>
              <a:endParaRPr kumimoji="1" lang="ja-JP" altLang="en-US" sz="1000" dirty="0" smtClean="0">
                <a:latin typeface="メイリオ" panose="020B0604030504040204" pitchFamily="50" charset="-128"/>
                <a:ea typeface="メイリオ" panose="020B0604030504040204" pitchFamily="50" charset="-128"/>
              </a:endParaRPr>
            </a:p>
          </p:txBody>
        </p:sp>
      </p:grpSp>
      <p:cxnSp>
        <p:nvCxnSpPr>
          <p:cNvPr id="37" name="カギ線コネクタ 36"/>
          <p:cNvCxnSpPr/>
          <p:nvPr/>
        </p:nvCxnSpPr>
        <p:spPr>
          <a:xfrm>
            <a:off x="230057" y="5625844"/>
            <a:ext cx="76877" cy="1970946"/>
          </a:xfrm>
          <a:prstGeom prst="bentConnector3">
            <a:avLst>
              <a:gd name="adj1" fmla="val -4251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右中かっこ 37"/>
          <p:cNvSpPr/>
          <p:nvPr/>
        </p:nvSpPr>
        <p:spPr>
          <a:xfrm flipH="1">
            <a:off x="230057" y="5553641"/>
            <a:ext cx="93245" cy="142623"/>
          </a:xfrm>
          <a:prstGeom prst="rightBrace">
            <a:avLst>
              <a:gd name="adj1" fmla="val 8333"/>
              <a:gd name="adj2" fmla="val 48036"/>
            </a:avLst>
          </a:prstGeom>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14672211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701">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buFont typeface="Wingdings 2" pitchFamily="18" charset="2"/>
          <a:buNone/>
          <a:defRPr kumimoji="1" sz="1200" dirty="0" smtClean="0"/>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ctr" anchorCtr="0">
        <a:spAutoFit/>
      </a:bodyPr>
      <a:lstStyle>
        <a:defPPr>
          <a:spcBef>
            <a:spcPts val="0"/>
          </a:spcBef>
          <a:buSzPct val="100000"/>
          <a:defRPr kumimoji="1"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0EC7C028-D4BC-4778-A7EB-DAB1F8477FC1}" vid="{AEFB859D-092C-4CED-99CE-4E4A8F4DAB0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415</Words>
  <Application>Microsoft Office PowerPoint</Application>
  <PresentationFormat>A4 210 x 297 mm</PresentationFormat>
  <Paragraphs>54</Paragraphs>
  <Slides>1</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9" baseType="lpstr">
      <vt:lpstr>ＭＳ Ｐゴシック</vt:lpstr>
      <vt:lpstr>メイリオ</vt:lpstr>
      <vt:lpstr>Arial</vt:lpstr>
      <vt:lpstr>Verdana</vt:lpstr>
      <vt:lpstr>Wingdings</vt:lpstr>
      <vt:lpstr>Wingdings 2</vt:lpstr>
      <vt:lpstr>DT Proposal Template_J_201701</vt:lpstr>
      <vt:lpstr>think-cell Slide</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5T09:32:22Z</dcterms:created>
  <dcterms:modified xsi:type="dcterms:W3CDTF">2019-06-20T06:44:20Z</dcterms:modified>
  <cp:contentStatus/>
</cp:coreProperties>
</file>